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5.xml" ContentType="application/vnd.openxmlformats-officedocument.theme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6.xml" ContentType="application/vnd.openxmlformats-officedocument.presentationml.tags+xml"/>
  <Override PartName="/ppt/notesSlides/notesSlide3.xml" ContentType="application/vnd.openxmlformats-officedocument.presentationml.notesSlide+xml"/>
  <Override PartName="/ppt/tags/tag4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omments/modernComment_420_9844E7AE.xml" ContentType="application/vnd.ms-powerpoint.comments+xml"/>
  <Override PartName="/ppt/notesSlides/notesSlide12.xml" ContentType="application/vnd.openxmlformats-officedocument.presentationml.notesSlide+xml"/>
  <Override PartName="/ppt/tags/tag49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50.xml" ContentType="application/vnd.openxmlformats-officedocument.presentationml.tags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C425B9-D7D4-4941-BD37-D8CF27BE02C1}" v="31" dt="2024-09-13T09:12:13.714"/>
  </p1510:revLst>
</p1510:revInfo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an Mariscal" userId="cf1bd114-d8bb-4dca-a898-6435f1598182" providerId="ADAL" clId="{5AC425B9-D7D4-4941-BD37-D8CF27BE02C1}"/>
    <pc:docChg chg="undo custSel addSld delSld modSld sldOrd delMainMaster">
      <pc:chgData name="Juan Mariscal" userId="cf1bd114-d8bb-4dca-a898-6435f1598182" providerId="ADAL" clId="{5AC425B9-D7D4-4941-BD37-D8CF27BE02C1}" dt="2024-09-13T09:19:33.306" v="4721" actId="20577"/>
      <pc:docMkLst>
        <pc:docMk/>
      </pc:docMkLst>
      <pc:sldChg chg="del">
        <pc:chgData name="Juan Mariscal" userId="cf1bd114-d8bb-4dca-a898-6435f1598182" providerId="ADAL" clId="{5AC425B9-D7D4-4941-BD37-D8CF27BE02C1}" dt="2024-09-13T06:59:12.534" v="69" actId="47"/>
        <pc:sldMkLst>
          <pc:docMk/>
          <pc:sldMk cId="2505207177" sldId="256"/>
        </pc:sldMkLst>
      </pc:sldChg>
      <pc:sldChg chg="add">
        <pc:chgData name="Juan Mariscal" userId="cf1bd114-d8bb-4dca-a898-6435f1598182" providerId="ADAL" clId="{5AC425B9-D7D4-4941-BD37-D8CF27BE02C1}" dt="2024-09-13T08:20:04.058" v="2817"/>
        <pc:sldMkLst>
          <pc:docMk/>
          <pc:sldMk cId="1963622509" sldId="737"/>
        </pc:sldMkLst>
      </pc:sldChg>
      <pc:sldChg chg="add del">
        <pc:chgData name="Juan Mariscal" userId="cf1bd114-d8bb-4dca-a898-6435f1598182" providerId="ADAL" clId="{5AC425B9-D7D4-4941-BD37-D8CF27BE02C1}" dt="2024-09-13T07:14:05.641" v="571"/>
        <pc:sldMkLst>
          <pc:docMk/>
          <pc:sldMk cId="2060543181" sldId="1033"/>
        </pc:sldMkLst>
      </pc:sldChg>
      <pc:sldChg chg="add ord">
        <pc:chgData name="Juan Mariscal" userId="cf1bd114-d8bb-4dca-a898-6435f1598182" providerId="ADAL" clId="{5AC425B9-D7D4-4941-BD37-D8CF27BE02C1}" dt="2024-09-13T07:10:46.797" v="563"/>
        <pc:sldMkLst>
          <pc:docMk/>
          <pc:sldMk cId="2554652590" sldId="1056"/>
        </pc:sldMkLst>
      </pc:sldChg>
      <pc:sldChg chg="modSp add mod">
        <pc:chgData name="Juan Mariscal" userId="cf1bd114-d8bb-4dca-a898-6435f1598182" providerId="ADAL" clId="{5AC425B9-D7D4-4941-BD37-D8CF27BE02C1}" dt="2024-09-13T08:01:36.146" v="2238"/>
        <pc:sldMkLst>
          <pc:docMk/>
          <pc:sldMk cId="544000648" sldId="2292"/>
        </pc:sldMkLst>
        <pc:spChg chg="mod">
          <ac:chgData name="Juan Mariscal" userId="cf1bd114-d8bb-4dca-a898-6435f1598182" providerId="ADAL" clId="{5AC425B9-D7D4-4941-BD37-D8CF27BE02C1}" dt="2024-09-13T08:01:36.146" v="2238"/>
          <ac:spMkLst>
            <pc:docMk/>
            <pc:sldMk cId="544000648" sldId="2292"/>
            <ac:spMk id="10" creationId="{3E38D240-0BCB-4BC8-9525-6DF64960272E}"/>
          </ac:spMkLst>
        </pc:spChg>
        <pc:spChg chg="mod">
          <ac:chgData name="Juan Mariscal" userId="cf1bd114-d8bb-4dca-a898-6435f1598182" providerId="ADAL" clId="{5AC425B9-D7D4-4941-BD37-D8CF27BE02C1}" dt="2024-09-13T07:57:53.640" v="2072" actId="20577"/>
          <ac:spMkLst>
            <pc:docMk/>
            <pc:sldMk cId="544000648" sldId="2292"/>
            <ac:spMk id="16" creationId="{82F208E4-B631-4FA8-80AD-14BCD5F4610A}"/>
          </ac:spMkLst>
        </pc:spChg>
        <pc:spChg chg="mod">
          <ac:chgData name="Juan Mariscal" userId="cf1bd114-d8bb-4dca-a898-6435f1598182" providerId="ADAL" clId="{5AC425B9-D7D4-4941-BD37-D8CF27BE02C1}" dt="2024-09-13T07:59:53.229" v="2093" actId="207"/>
          <ac:spMkLst>
            <pc:docMk/>
            <pc:sldMk cId="544000648" sldId="2292"/>
            <ac:spMk id="476" creationId="{921778CA-A420-46EC-9B3C-0D5D77854EEF}"/>
          </ac:spMkLst>
        </pc:spChg>
      </pc:sldChg>
      <pc:sldChg chg="add del">
        <pc:chgData name="Juan Mariscal" userId="cf1bd114-d8bb-4dca-a898-6435f1598182" providerId="ADAL" clId="{5AC425B9-D7D4-4941-BD37-D8CF27BE02C1}" dt="2024-09-13T07:14:05.641" v="571"/>
        <pc:sldMkLst>
          <pc:docMk/>
          <pc:sldMk cId="832318502" sldId="4192"/>
        </pc:sldMkLst>
      </pc:sldChg>
      <pc:sldChg chg="add ord">
        <pc:chgData name="Juan Mariscal" userId="cf1bd114-d8bb-4dca-a898-6435f1598182" providerId="ADAL" clId="{5AC425B9-D7D4-4941-BD37-D8CF27BE02C1}" dt="2024-09-13T07:10:57.600" v="569"/>
        <pc:sldMkLst>
          <pc:docMk/>
          <pc:sldMk cId="766544655" sldId="4200"/>
        </pc:sldMkLst>
      </pc:sldChg>
      <pc:sldChg chg="modSp add mod ord">
        <pc:chgData name="Juan Mariscal" userId="cf1bd114-d8bb-4dca-a898-6435f1598182" providerId="ADAL" clId="{5AC425B9-D7D4-4941-BD37-D8CF27BE02C1}" dt="2024-09-13T08:39:32.277" v="3727" actId="14100"/>
        <pc:sldMkLst>
          <pc:docMk/>
          <pc:sldMk cId="177286774" sldId="4202"/>
        </pc:sldMkLst>
        <pc:spChg chg="mod">
          <ac:chgData name="Juan Mariscal" userId="cf1bd114-d8bb-4dca-a898-6435f1598182" providerId="ADAL" clId="{5AC425B9-D7D4-4941-BD37-D8CF27BE02C1}" dt="2024-09-13T08:39:32.277" v="3727" actId="14100"/>
          <ac:spMkLst>
            <pc:docMk/>
            <pc:sldMk cId="177286774" sldId="4202"/>
            <ac:spMk id="5" creationId="{0BCB0E6B-CBBD-0C34-8EBD-5E420F09B563}"/>
          </ac:spMkLst>
        </pc:spChg>
        <pc:picChg chg="mod">
          <ac:chgData name="Juan Mariscal" userId="cf1bd114-d8bb-4dca-a898-6435f1598182" providerId="ADAL" clId="{5AC425B9-D7D4-4941-BD37-D8CF27BE02C1}" dt="2024-09-13T08:38:17.290" v="3676" actId="1076"/>
          <ac:picMkLst>
            <pc:docMk/>
            <pc:sldMk cId="177286774" sldId="4202"/>
            <ac:picMk id="7" creationId="{79996AE8-0484-BFA2-3360-774DD5056C70}"/>
          </ac:picMkLst>
        </pc:picChg>
      </pc:sldChg>
      <pc:sldChg chg="add del">
        <pc:chgData name="Juan Mariscal" userId="cf1bd114-d8bb-4dca-a898-6435f1598182" providerId="ADAL" clId="{5AC425B9-D7D4-4941-BD37-D8CF27BE02C1}" dt="2024-09-13T07:14:05.641" v="571"/>
        <pc:sldMkLst>
          <pc:docMk/>
          <pc:sldMk cId="3217021577" sldId="4203"/>
        </pc:sldMkLst>
      </pc:sldChg>
      <pc:sldChg chg="addSp modSp add mod">
        <pc:chgData name="Juan Mariscal" userId="cf1bd114-d8bb-4dca-a898-6435f1598182" providerId="ADAL" clId="{5AC425B9-D7D4-4941-BD37-D8CF27BE02C1}" dt="2024-09-13T08:11:50.071" v="2725" actId="113"/>
        <pc:sldMkLst>
          <pc:docMk/>
          <pc:sldMk cId="3477606241" sldId="2147374207"/>
        </pc:sldMkLst>
        <pc:spChg chg="mod">
          <ac:chgData name="Juan Mariscal" userId="cf1bd114-d8bb-4dca-a898-6435f1598182" providerId="ADAL" clId="{5AC425B9-D7D4-4941-BD37-D8CF27BE02C1}" dt="2024-09-13T08:11:23.582" v="2715" actId="21"/>
          <ac:spMkLst>
            <pc:docMk/>
            <pc:sldMk cId="3477606241" sldId="2147374207"/>
            <ac:spMk id="3" creationId="{6ED8CCA5-DC84-421D-8785-AE695519BA9E}"/>
          </ac:spMkLst>
        </pc:spChg>
        <pc:spChg chg="mod">
          <ac:chgData name="Juan Mariscal" userId="cf1bd114-d8bb-4dca-a898-6435f1598182" providerId="ADAL" clId="{5AC425B9-D7D4-4941-BD37-D8CF27BE02C1}" dt="2024-09-13T08:11:50.071" v="2725" actId="113"/>
          <ac:spMkLst>
            <pc:docMk/>
            <pc:sldMk cId="3477606241" sldId="2147374207"/>
            <ac:spMk id="5" creationId="{AA5FC634-DE78-4015-9077-8316C79395FE}"/>
          </ac:spMkLst>
        </pc:spChg>
        <pc:spChg chg="mod">
          <ac:chgData name="Juan Mariscal" userId="cf1bd114-d8bb-4dca-a898-6435f1598182" providerId="ADAL" clId="{5AC425B9-D7D4-4941-BD37-D8CF27BE02C1}" dt="2024-09-13T07:57:27.676" v="2048" actId="20577"/>
          <ac:spMkLst>
            <pc:docMk/>
            <pc:sldMk cId="3477606241" sldId="2147374207"/>
            <ac:spMk id="307" creationId="{BB51C096-8EF8-4292-90AD-E8253003D912}"/>
          </ac:spMkLst>
        </pc:spChg>
        <pc:picChg chg="add mod">
          <ac:chgData name="Juan Mariscal" userId="cf1bd114-d8bb-4dca-a898-6435f1598182" providerId="ADAL" clId="{5AC425B9-D7D4-4941-BD37-D8CF27BE02C1}" dt="2024-09-13T07:10:14.685" v="561" actId="1076"/>
          <ac:picMkLst>
            <pc:docMk/>
            <pc:sldMk cId="3477606241" sldId="2147374207"/>
            <ac:picMk id="8" creationId="{10CA0126-6109-CE0C-5908-2092B23B0F58}"/>
          </ac:picMkLst>
        </pc:picChg>
      </pc:sldChg>
      <pc:sldChg chg="modSp add mod modNotesTx">
        <pc:chgData name="Juan Mariscal" userId="cf1bd114-d8bb-4dca-a898-6435f1598182" providerId="ADAL" clId="{5AC425B9-D7D4-4941-BD37-D8CF27BE02C1}" dt="2024-09-13T09:19:33.306" v="4721" actId="20577"/>
        <pc:sldMkLst>
          <pc:docMk/>
          <pc:sldMk cId="2905225755" sldId="2147374228"/>
        </pc:sldMkLst>
        <pc:spChg chg="mod">
          <ac:chgData name="Juan Mariscal" userId="cf1bd114-d8bb-4dca-a898-6435f1598182" providerId="ADAL" clId="{5AC425B9-D7D4-4941-BD37-D8CF27BE02C1}" dt="2024-09-13T09:00:37.130" v="4314" actId="20577"/>
          <ac:spMkLst>
            <pc:docMk/>
            <pc:sldMk cId="2905225755" sldId="2147374228"/>
            <ac:spMk id="2" creationId="{B10EA920-0A51-2A32-215C-773EF58433F8}"/>
          </ac:spMkLst>
        </pc:spChg>
        <pc:spChg chg="mod">
          <ac:chgData name="Juan Mariscal" userId="cf1bd114-d8bb-4dca-a898-6435f1598182" providerId="ADAL" clId="{5AC425B9-D7D4-4941-BD37-D8CF27BE02C1}" dt="2024-09-13T09:19:33.306" v="4721" actId="20577"/>
          <ac:spMkLst>
            <pc:docMk/>
            <pc:sldMk cId="2905225755" sldId="2147374228"/>
            <ac:spMk id="3" creationId="{B168A54B-3B07-C79A-9857-E03DBDF46F32}"/>
          </ac:spMkLst>
        </pc:spChg>
        <pc:spChg chg="mod">
          <ac:chgData name="Juan Mariscal" userId="cf1bd114-d8bb-4dca-a898-6435f1598182" providerId="ADAL" clId="{5AC425B9-D7D4-4941-BD37-D8CF27BE02C1}" dt="2024-09-13T09:18:35.870" v="4670" actId="20577"/>
          <ac:spMkLst>
            <pc:docMk/>
            <pc:sldMk cId="2905225755" sldId="2147374228"/>
            <ac:spMk id="4" creationId="{F462E0F2-4961-9EBC-3E85-C5C86E630C4F}"/>
          </ac:spMkLst>
        </pc:spChg>
        <pc:spChg chg="mod">
          <ac:chgData name="Juan Mariscal" userId="cf1bd114-d8bb-4dca-a898-6435f1598182" providerId="ADAL" clId="{5AC425B9-D7D4-4941-BD37-D8CF27BE02C1}" dt="2024-09-13T09:19:23.472" v="4676" actId="1076"/>
          <ac:spMkLst>
            <pc:docMk/>
            <pc:sldMk cId="2905225755" sldId="2147374228"/>
            <ac:spMk id="5" creationId="{09DC4D9C-0D83-8388-3785-386288101711}"/>
          </ac:spMkLst>
        </pc:spChg>
      </pc:sldChg>
      <pc:sldChg chg="modSp add mod ord">
        <pc:chgData name="Juan Mariscal" userId="cf1bd114-d8bb-4dca-a898-6435f1598182" providerId="ADAL" clId="{5AC425B9-D7D4-4941-BD37-D8CF27BE02C1}" dt="2024-09-13T07:20:19.108" v="768"/>
        <pc:sldMkLst>
          <pc:docMk/>
          <pc:sldMk cId="1050979531" sldId="2147374289"/>
        </pc:sldMkLst>
        <pc:spChg chg="mod">
          <ac:chgData name="Juan Mariscal" userId="cf1bd114-d8bb-4dca-a898-6435f1598182" providerId="ADAL" clId="{5AC425B9-D7D4-4941-BD37-D8CF27BE02C1}" dt="2024-09-13T07:19:52.857" v="765" actId="20577"/>
          <ac:spMkLst>
            <pc:docMk/>
            <pc:sldMk cId="1050979531" sldId="2147374289"/>
            <ac:spMk id="4" creationId="{5649C1B7-4F4E-490E-94C8-1773711FE207}"/>
          </ac:spMkLst>
        </pc:spChg>
        <pc:spChg chg="mod">
          <ac:chgData name="Juan Mariscal" userId="cf1bd114-d8bb-4dca-a898-6435f1598182" providerId="ADAL" clId="{5AC425B9-D7D4-4941-BD37-D8CF27BE02C1}" dt="2024-09-13T07:20:14.334" v="766" actId="1076"/>
          <ac:spMkLst>
            <pc:docMk/>
            <pc:sldMk cId="1050979531" sldId="2147374289"/>
            <ac:spMk id="11" creationId="{16B8D250-C9F2-61F4-89A7-517A9416009A}"/>
          </ac:spMkLst>
        </pc:spChg>
      </pc:sldChg>
      <pc:sldChg chg="add ord">
        <pc:chgData name="Juan Mariscal" userId="cf1bd114-d8bb-4dca-a898-6435f1598182" providerId="ADAL" clId="{5AC425B9-D7D4-4941-BD37-D8CF27BE02C1}" dt="2024-09-13T07:10:55.876" v="567"/>
        <pc:sldMkLst>
          <pc:docMk/>
          <pc:sldMk cId="4039583745" sldId="2147374347"/>
        </pc:sldMkLst>
      </pc:sldChg>
      <pc:sldChg chg="modSp add mod">
        <pc:chgData name="Juan Mariscal" userId="cf1bd114-d8bb-4dca-a898-6435f1598182" providerId="ADAL" clId="{5AC425B9-D7D4-4941-BD37-D8CF27BE02C1}" dt="2024-09-13T08:11:54.482" v="2726" actId="113"/>
        <pc:sldMkLst>
          <pc:docMk/>
          <pc:sldMk cId="1024962782" sldId="2147374351"/>
        </pc:sldMkLst>
        <pc:spChg chg="mod">
          <ac:chgData name="Juan Mariscal" userId="cf1bd114-d8bb-4dca-a898-6435f1598182" providerId="ADAL" clId="{5AC425B9-D7D4-4941-BD37-D8CF27BE02C1}" dt="2024-09-13T08:11:54.482" v="2726" actId="113"/>
          <ac:spMkLst>
            <pc:docMk/>
            <pc:sldMk cId="1024962782" sldId="2147374351"/>
            <ac:spMk id="38" creationId="{47926A44-BDA9-3E4F-F867-195E955AFC26}"/>
          </ac:spMkLst>
        </pc:spChg>
      </pc:sldChg>
      <pc:sldChg chg="add">
        <pc:chgData name="Juan Mariscal" userId="cf1bd114-d8bb-4dca-a898-6435f1598182" providerId="ADAL" clId="{5AC425B9-D7D4-4941-BD37-D8CF27BE02C1}" dt="2024-09-13T06:56:41.326" v="0"/>
        <pc:sldMkLst>
          <pc:docMk/>
          <pc:sldMk cId="826429045" sldId="2147374490"/>
        </pc:sldMkLst>
      </pc:sldChg>
      <pc:sldChg chg="modSp add mod">
        <pc:chgData name="Juan Mariscal" userId="cf1bd114-d8bb-4dca-a898-6435f1598182" providerId="ADAL" clId="{5AC425B9-D7D4-4941-BD37-D8CF27BE02C1}" dt="2024-09-13T08:23:26.216" v="2842" actId="1076"/>
        <pc:sldMkLst>
          <pc:docMk/>
          <pc:sldMk cId="2363619989" sldId="2147374526"/>
        </pc:sldMkLst>
        <pc:spChg chg="mod">
          <ac:chgData name="Juan Mariscal" userId="cf1bd114-d8bb-4dca-a898-6435f1598182" providerId="ADAL" clId="{5AC425B9-D7D4-4941-BD37-D8CF27BE02C1}" dt="2024-09-13T08:23:23.400" v="2841" actId="113"/>
          <ac:spMkLst>
            <pc:docMk/>
            <pc:sldMk cId="2363619989" sldId="2147374526"/>
            <ac:spMk id="3" creationId="{9E74A06A-26D4-F41C-355C-1E29D96D1FC1}"/>
          </ac:spMkLst>
        </pc:spChg>
        <pc:picChg chg="mod">
          <ac:chgData name="Juan Mariscal" userId="cf1bd114-d8bb-4dca-a898-6435f1598182" providerId="ADAL" clId="{5AC425B9-D7D4-4941-BD37-D8CF27BE02C1}" dt="2024-09-13T08:23:26.216" v="2842" actId="1076"/>
          <ac:picMkLst>
            <pc:docMk/>
            <pc:sldMk cId="2363619989" sldId="2147374526"/>
            <ac:picMk id="23" creationId="{0EA6C81E-BB7C-492A-12AA-00C1A90DAB86}"/>
          </ac:picMkLst>
        </pc:picChg>
      </pc:sldChg>
      <pc:sldChg chg="add del">
        <pc:chgData name="Juan Mariscal" userId="cf1bd114-d8bb-4dca-a898-6435f1598182" providerId="ADAL" clId="{5AC425B9-D7D4-4941-BD37-D8CF27BE02C1}" dt="2024-09-13T08:32:14.593" v="3104" actId="47"/>
        <pc:sldMkLst>
          <pc:docMk/>
          <pc:sldMk cId="3307706748" sldId="2147374542"/>
        </pc:sldMkLst>
      </pc:sldChg>
      <pc:sldChg chg="addSp delSp modSp add mod">
        <pc:chgData name="Juan Mariscal" userId="cf1bd114-d8bb-4dca-a898-6435f1598182" providerId="ADAL" clId="{5AC425B9-D7D4-4941-BD37-D8CF27BE02C1}" dt="2024-09-13T09:19:08.673" v="4675" actId="22"/>
        <pc:sldMkLst>
          <pc:docMk/>
          <pc:sldMk cId="400363063" sldId="2147374545"/>
        </pc:sldMkLst>
        <pc:spChg chg="add del">
          <ac:chgData name="Juan Mariscal" userId="cf1bd114-d8bb-4dca-a898-6435f1598182" providerId="ADAL" clId="{5AC425B9-D7D4-4941-BD37-D8CF27BE02C1}" dt="2024-09-13T09:19:08.673" v="4675" actId="22"/>
          <ac:spMkLst>
            <pc:docMk/>
            <pc:sldMk cId="400363063" sldId="2147374545"/>
            <ac:spMk id="8" creationId="{06C5C8C8-9A7F-CF76-5670-D2C7C99B6F5E}"/>
          </ac:spMkLst>
        </pc:spChg>
        <pc:picChg chg="add mod">
          <ac:chgData name="Juan Mariscal" userId="cf1bd114-d8bb-4dca-a898-6435f1598182" providerId="ADAL" clId="{5AC425B9-D7D4-4941-BD37-D8CF27BE02C1}" dt="2024-09-13T08:27:33.477" v="2964" actId="14100"/>
          <ac:picMkLst>
            <pc:docMk/>
            <pc:sldMk cId="400363063" sldId="2147374545"/>
            <ac:picMk id="4" creationId="{FF07F8EF-56CA-5E90-9976-F44713BDBC5F}"/>
          </ac:picMkLst>
        </pc:picChg>
        <pc:picChg chg="mod">
          <ac:chgData name="Juan Mariscal" userId="cf1bd114-d8bb-4dca-a898-6435f1598182" providerId="ADAL" clId="{5AC425B9-D7D4-4941-BD37-D8CF27BE02C1}" dt="2024-09-13T08:27:32.252" v="2962" actId="1076"/>
          <ac:picMkLst>
            <pc:docMk/>
            <pc:sldMk cId="400363063" sldId="2147374545"/>
            <ac:picMk id="5" creationId="{5DD87F0F-C4F6-B2D4-E1FB-92D830BE67FA}"/>
          </ac:picMkLst>
        </pc:picChg>
      </pc:sldChg>
      <pc:sldChg chg="addSp modSp add mod">
        <pc:chgData name="Juan Mariscal" userId="cf1bd114-d8bb-4dca-a898-6435f1598182" providerId="ADAL" clId="{5AC425B9-D7D4-4941-BD37-D8CF27BE02C1}" dt="2024-09-13T08:28:57.131" v="2985" actId="1076"/>
        <pc:sldMkLst>
          <pc:docMk/>
          <pc:sldMk cId="4252215383" sldId="2147374546"/>
        </pc:sldMkLst>
        <pc:spChg chg="mod">
          <ac:chgData name="Juan Mariscal" userId="cf1bd114-d8bb-4dca-a898-6435f1598182" providerId="ADAL" clId="{5AC425B9-D7D4-4941-BD37-D8CF27BE02C1}" dt="2024-09-13T08:28:26.807" v="2983" actId="404"/>
          <ac:spMkLst>
            <pc:docMk/>
            <pc:sldMk cId="4252215383" sldId="2147374546"/>
            <ac:spMk id="10" creationId="{0F72DE06-EC64-FA00-F0C9-D98B13B32AF5}"/>
          </ac:spMkLst>
        </pc:spChg>
        <pc:picChg chg="add mod">
          <ac:chgData name="Juan Mariscal" userId="cf1bd114-d8bb-4dca-a898-6435f1598182" providerId="ADAL" clId="{5AC425B9-D7D4-4941-BD37-D8CF27BE02C1}" dt="2024-09-13T08:25:42.557" v="2857" actId="1076"/>
          <ac:picMkLst>
            <pc:docMk/>
            <pc:sldMk cId="4252215383" sldId="2147374546"/>
            <ac:picMk id="2" creationId="{B374C7EC-ED61-6F1E-6279-9F283DFF583D}"/>
          </ac:picMkLst>
        </pc:picChg>
        <pc:picChg chg="mod">
          <ac:chgData name="Juan Mariscal" userId="cf1bd114-d8bb-4dca-a898-6435f1598182" providerId="ADAL" clId="{5AC425B9-D7D4-4941-BD37-D8CF27BE02C1}" dt="2024-09-13T08:28:57.131" v="2985" actId="1076"/>
          <ac:picMkLst>
            <pc:docMk/>
            <pc:sldMk cId="4252215383" sldId="2147374546"/>
            <ac:picMk id="5" creationId="{37C580EA-2BC3-AB33-28BE-DF0C26D2D51B}"/>
          </ac:picMkLst>
        </pc:picChg>
        <pc:picChg chg="mod">
          <ac:chgData name="Juan Mariscal" userId="cf1bd114-d8bb-4dca-a898-6435f1598182" providerId="ADAL" clId="{5AC425B9-D7D4-4941-BD37-D8CF27BE02C1}" dt="2024-09-13T08:28:42.298" v="2984" actId="14100"/>
          <ac:picMkLst>
            <pc:docMk/>
            <pc:sldMk cId="4252215383" sldId="2147374546"/>
            <ac:picMk id="7" creationId="{F83C0063-DB30-1D02-4AC5-43ABFBA9F105}"/>
          </ac:picMkLst>
        </pc:picChg>
      </pc:sldChg>
      <pc:sldChg chg="add del">
        <pc:chgData name="Juan Mariscal" userId="cf1bd114-d8bb-4dca-a898-6435f1598182" providerId="ADAL" clId="{5AC425B9-D7D4-4941-BD37-D8CF27BE02C1}" dt="2024-09-13T08:26:46.788" v="2951" actId="47"/>
        <pc:sldMkLst>
          <pc:docMk/>
          <pc:sldMk cId="348973791" sldId="2147374547"/>
        </pc:sldMkLst>
      </pc:sldChg>
      <pc:sldChg chg="addSp modSp add mod">
        <pc:chgData name="Juan Mariscal" userId="cf1bd114-d8bb-4dca-a898-6435f1598182" providerId="ADAL" clId="{5AC425B9-D7D4-4941-BD37-D8CF27BE02C1}" dt="2024-09-13T09:07:51.819" v="4547" actId="20577"/>
        <pc:sldMkLst>
          <pc:docMk/>
          <pc:sldMk cId="3421332619" sldId="2147374549"/>
        </pc:sldMkLst>
        <pc:spChg chg="mod">
          <ac:chgData name="Juan Mariscal" userId="cf1bd114-d8bb-4dca-a898-6435f1598182" providerId="ADAL" clId="{5AC425B9-D7D4-4941-BD37-D8CF27BE02C1}" dt="2024-09-13T09:07:51.819" v="4547" actId="20577"/>
          <ac:spMkLst>
            <pc:docMk/>
            <pc:sldMk cId="3421332619" sldId="2147374549"/>
            <ac:spMk id="3" creationId="{9E74A06A-26D4-F41C-355C-1E29D96D1FC1}"/>
          </ac:spMkLst>
        </pc:spChg>
        <pc:spChg chg="mod">
          <ac:chgData name="Juan Mariscal" userId="cf1bd114-d8bb-4dca-a898-6435f1598182" providerId="ADAL" clId="{5AC425B9-D7D4-4941-BD37-D8CF27BE02C1}" dt="2024-09-13T07:20:28.047" v="769" actId="1076"/>
          <ac:spMkLst>
            <pc:docMk/>
            <pc:sldMk cId="3421332619" sldId="2147374549"/>
            <ac:spMk id="4" creationId="{45BC09A1-1011-17B0-4504-6FF0F63E706F}"/>
          </ac:spMkLst>
        </pc:spChg>
        <pc:spChg chg="mod">
          <ac:chgData name="Juan Mariscal" userId="cf1bd114-d8bb-4dca-a898-6435f1598182" providerId="ADAL" clId="{5AC425B9-D7D4-4941-BD37-D8CF27BE02C1}" dt="2024-09-13T09:05:52.519" v="4476" actId="14100"/>
          <ac:spMkLst>
            <pc:docMk/>
            <pc:sldMk cId="3421332619" sldId="2147374549"/>
            <ac:spMk id="24" creationId="{BE4C3E7D-7ACD-3F78-0883-EC62C8652368}"/>
          </ac:spMkLst>
        </pc:spChg>
        <pc:spChg chg="mod">
          <ac:chgData name="Juan Mariscal" userId="cf1bd114-d8bb-4dca-a898-6435f1598182" providerId="ADAL" clId="{5AC425B9-D7D4-4941-BD37-D8CF27BE02C1}" dt="2024-09-13T07:09:52.060" v="554" actId="1076"/>
          <ac:spMkLst>
            <pc:docMk/>
            <pc:sldMk cId="3421332619" sldId="2147374549"/>
            <ac:spMk id="25" creationId="{179CFAE5-5C5E-5BA6-ACB9-7D0B2C937D41}"/>
          </ac:spMkLst>
        </pc:spChg>
        <pc:picChg chg="add mod">
          <ac:chgData name="Juan Mariscal" userId="cf1bd114-d8bb-4dca-a898-6435f1598182" providerId="ADAL" clId="{5AC425B9-D7D4-4941-BD37-D8CF27BE02C1}" dt="2024-09-13T07:09:35.010" v="551" actId="14100"/>
          <ac:picMkLst>
            <pc:docMk/>
            <pc:sldMk cId="3421332619" sldId="2147374549"/>
            <ac:picMk id="5" creationId="{2C2AEB4B-7B02-B1C3-CC78-2659728F71A1}"/>
          </ac:picMkLst>
        </pc:picChg>
        <pc:picChg chg="mod">
          <ac:chgData name="Juan Mariscal" userId="cf1bd114-d8bb-4dca-a898-6435f1598182" providerId="ADAL" clId="{5AC425B9-D7D4-4941-BD37-D8CF27BE02C1}" dt="2024-09-13T07:07:03.260" v="489" actId="1076"/>
          <ac:picMkLst>
            <pc:docMk/>
            <pc:sldMk cId="3421332619" sldId="2147374549"/>
            <ac:picMk id="7" creationId="{FA10B56B-1213-4F0E-BA86-844E1D99EF7C}"/>
          </ac:picMkLst>
        </pc:picChg>
      </pc:sldChg>
      <pc:sldChg chg="addSp modSp add mod">
        <pc:chgData name="Juan Mariscal" userId="cf1bd114-d8bb-4dca-a898-6435f1598182" providerId="ADAL" clId="{5AC425B9-D7D4-4941-BD37-D8CF27BE02C1}" dt="2024-09-13T09:17:43.446" v="4654" actId="20577"/>
        <pc:sldMkLst>
          <pc:docMk/>
          <pc:sldMk cId="2983446968" sldId="2147374551"/>
        </pc:sldMkLst>
        <pc:spChg chg="add mod">
          <ac:chgData name="Juan Mariscal" userId="cf1bd114-d8bb-4dca-a898-6435f1598182" providerId="ADAL" clId="{5AC425B9-D7D4-4941-BD37-D8CF27BE02C1}" dt="2024-09-13T08:03:01.256" v="2304"/>
          <ac:spMkLst>
            <pc:docMk/>
            <pc:sldMk cId="2983446968" sldId="2147374551"/>
            <ac:spMk id="2" creationId="{0B687E5C-F165-05E7-9458-BCAD914929B7}"/>
          </ac:spMkLst>
        </pc:spChg>
        <pc:spChg chg="add mod">
          <ac:chgData name="Juan Mariscal" userId="cf1bd114-d8bb-4dca-a898-6435f1598182" providerId="ADAL" clId="{5AC425B9-D7D4-4941-BD37-D8CF27BE02C1}" dt="2024-09-13T09:17:43.446" v="4654" actId="20577"/>
          <ac:spMkLst>
            <pc:docMk/>
            <pc:sldMk cId="2983446968" sldId="2147374551"/>
            <ac:spMk id="4" creationId="{90BEF50A-A9DB-5C05-4812-6F9C9335D265}"/>
          </ac:spMkLst>
        </pc:spChg>
        <pc:spChg chg="mod">
          <ac:chgData name="Juan Mariscal" userId="cf1bd114-d8bb-4dca-a898-6435f1598182" providerId="ADAL" clId="{5AC425B9-D7D4-4941-BD37-D8CF27BE02C1}" dt="2024-09-13T08:11:16.306" v="2713" actId="113"/>
          <ac:spMkLst>
            <pc:docMk/>
            <pc:sldMk cId="2983446968" sldId="2147374551"/>
            <ac:spMk id="6" creationId="{5357B79F-163D-27F1-2DE3-CCC262368C10}"/>
          </ac:spMkLst>
        </pc:spChg>
        <pc:spChg chg="mod">
          <ac:chgData name="Juan Mariscal" userId="cf1bd114-d8bb-4dca-a898-6435f1598182" providerId="ADAL" clId="{5AC425B9-D7D4-4941-BD37-D8CF27BE02C1}" dt="2024-09-13T08:17:06.926" v="2815" actId="20577"/>
          <ac:spMkLst>
            <pc:docMk/>
            <pc:sldMk cId="2983446968" sldId="2147374551"/>
            <ac:spMk id="7" creationId="{0043D302-F2AF-AE5F-3868-E4473A448ADE}"/>
          </ac:spMkLst>
        </pc:spChg>
        <pc:picChg chg="mod">
          <ac:chgData name="Juan Mariscal" userId="cf1bd114-d8bb-4dca-a898-6435f1598182" providerId="ADAL" clId="{5AC425B9-D7D4-4941-BD37-D8CF27BE02C1}" dt="2024-09-13T09:14:10.680" v="4599" actId="1076"/>
          <ac:picMkLst>
            <pc:docMk/>
            <pc:sldMk cId="2983446968" sldId="2147374551"/>
            <ac:picMk id="5" creationId="{950F6107-94C8-FE45-E2F4-060641EB83CF}"/>
          </ac:picMkLst>
        </pc:picChg>
      </pc:sldChg>
      <pc:sldChg chg="addSp delSp modSp add mod ord">
        <pc:chgData name="Juan Mariscal" userId="cf1bd114-d8bb-4dca-a898-6435f1598182" providerId="ADAL" clId="{5AC425B9-D7D4-4941-BD37-D8CF27BE02C1}" dt="2024-09-13T08:10:56.195" v="2712" actId="113"/>
        <pc:sldMkLst>
          <pc:docMk/>
          <pc:sldMk cId="1686909783" sldId="2147374554"/>
        </pc:sldMkLst>
        <pc:spChg chg="mod">
          <ac:chgData name="Juan Mariscal" userId="cf1bd114-d8bb-4dca-a898-6435f1598182" providerId="ADAL" clId="{5AC425B9-D7D4-4941-BD37-D8CF27BE02C1}" dt="2024-09-13T07:06:19.885" v="487" actId="1076"/>
          <ac:spMkLst>
            <pc:docMk/>
            <pc:sldMk cId="1686909783" sldId="2147374554"/>
            <ac:spMk id="5" creationId="{44263FBA-0EE5-2D5D-206D-D21A8DF55827}"/>
          </ac:spMkLst>
        </pc:spChg>
        <pc:spChg chg="mod">
          <ac:chgData name="Juan Mariscal" userId="cf1bd114-d8bb-4dca-a898-6435f1598182" providerId="ADAL" clId="{5AC425B9-D7D4-4941-BD37-D8CF27BE02C1}" dt="2024-09-13T08:10:08.707" v="2702" actId="113"/>
          <ac:spMkLst>
            <pc:docMk/>
            <pc:sldMk cId="1686909783" sldId="2147374554"/>
            <ac:spMk id="7" creationId="{EF727908-1B5B-9125-4ECE-02C10E812670}"/>
          </ac:spMkLst>
        </pc:spChg>
        <pc:spChg chg="mod">
          <ac:chgData name="Juan Mariscal" userId="cf1bd114-d8bb-4dca-a898-6435f1598182" providerId="ADAL" clId="{5AC425B9-D7D4-4941-BD37-D8CF27BE02C1}" dt="2024-09-13T08:10:56.195" v="2712" actId="113"/>
          <ac:spMkLst>
            <pc:docMk/>
            <pc:sldMk cId="1686909783" sldId="2147374554"/>
            <ac:spMk id="10" creationId="{02BB7833-8B60-A23E-5139-DA1A73BBAC74}"/>
          </ac:spMkLst>
        </pc:spChg>
        <pc:picChg chg="add mod">
          <ac:chgData name="Juan Mariscal" userId="cf1bd114-d8bb-4dca-a898-6435f1598182" providerId="ADAL" clId="{5AC425B9-D7D4-4941-BD37-D8CF27BE02C1}" dt="2024-09-13T07:10:06.223" v="558" actId="1076"/>
          <ac:picMkLst>
            <pc:docMk/>
            <pc:sldMk cId="1686909783" sldId="2147374554"/>
            <ac:picMk id="2" creationId="{F60FA440-069B-EC47-A047-C048D395B8C0}"/>
          </ac:picMkLst>
        </pc:picChg>
        <pc:picChg chg="del">
          <ac:chgData name="Juan Mariscal" userId="cf1bd114-d8bb-4dca-a898-6435f1598182" providerId="ADAL" clId="{5AC425B9-D7D4-4941-BD37-D8CF27BE02C1}" dt="2024-09-13T06:59:17.850" v="70" actId="478"/>
          <ac:picMkLst>
            <pc:docMk/>
            <pc:sldMk cId="1686909783" sldId="2147374554"/>
            <ac:picMk id="4" creationId="{DA4E0B8E-43B3-1513-09A9-0119C7E83429}"/>
          </ac:picMkLst>
        </pc:picChg>
        <pc:picChg chg="del">
          <ac:chgData name="Juan Mariscal" userId="cf1bd114-d8bb-4dca-a898-6435f1598182" providerId="ADAL" clId="{5AC425B9-D7D4-4941-BD37-D8CF27BE02C1}" dt="2024-09-13T07:09:58.779" v="556" actId="478"/>
          <ac:picMkLst>
            <pc:docMk/>
            <pc:sldMk cId="1686909783" sldId="2147374554"/>
            <ac:picMk id="8" creationId="{ECC762F5-31A5-BC14-6E3C-B31139D01BFF}"/>
          </ac:picMkLst>
        </pc:picChg>
        <pc:picChg chg="mod">
          <ac:chgData name="Juan Mariscal" userId="cf1bd114-d8bb-4dca-a898-6435f1598182" providerId="ADAL" clId="{5AC425B9-D7D4-4941-BD37-D8CF27BE02C1}" dt="2024-09-13T08:10:28.255" v="2706" actId="1076"/>
          <ac:picMkLst>
            <pc:docMk/>
            <pc:sldMk cId="1686909783" sldId="2147374554"/>
            <ac:picMk id="9" creationId="{0FE8FF86-6FDD-8586-4AFA-44EDF0224BFA}"/>
          </ac:picMkLst>
        </pc:picChg>
      </pc:sldChg>
      <pc:sldChg chg="modSp new del mod ord">
        <pc:chgData name="Juan Mariscal" userId="cf1bd114-d8bb-4dca-a898-6435f1598182" providerId="ADAL" clId="{5AC425B9-D7D4-4941-BD37-D8CF27BE02C1}" dt="2024-09-13T08:26:59.636" v="2952" actId="47"/>
        <pc:sldMkLst>
          <pc:docMk/>
          <pc:sldMk cId="3710420122" sldId="2147374555"/>
        </pc:sldMkLst>
        <pc:spChg chg="mod">
          <ac:chgData name="Juan Mariscal" userId="cf1bd114-d8bb-4dca-a898-6435f1598182" providerId="ADAL" clId="{5AC425B9-D7D4-4941-BD37-D8CF27BE02C1}" dt="2024-09-13T07:55:46.646" v="2029" actId="113"/>
          <ac:spMkLst>
            <pc:docMk/>
            <pc:sldMk cId="3710420122" sldId="2147374555"/>
            <ac:spMk id="2" creationId="{0B41B9A4-C740-FCC1-2619-68CB57DF16D3}"/>
          </ac:spMkLst>
        </pc:spChg>
        <pc:spChg chg="mod">
          <ac:chgData name="Juan Mariscal" userId="cf1bd114-d8bb-4dca-a898-6435f1598182" providerId="ADAL" clId="{5AC425B9-D7D4-4941-BD37-D8CF27BE02C1}" dt="2024-09-13T07:32:07.897" v="912" actId="20577"/>
          <ac:spMkLst>
            <pc:docMk/>
            <pc:sldMk cId="3710420122" sldId="2147374555"/>
            <ac:spMk id="3" creationId="{FE619290-7392-ECC6-DC96-DD233DBF4671}"/>
          </ac:spMkLst>
        </pc:spChg>
        <pc:spChg chg="mod">
          <ac:chgData name="Juan Mariscal" userId="cf1bd114-d8bb-4dca-a898-6435f1598182" providerId="ADAL" clId="{5AC425B9-D7D4-4941-BD37-D8CF27BE02C1}" dt="2024-09-13T07:55:31.159" v="2025" actId="20577"/>
          <ac:spMkLst>
            <pc:docMk/>
            <pc:sldMk cId="3710420122" sldId="2147374555"/>
            <ac:spMk id="4" creationId="{F0C75145-42DD-1E1D-BB5E-64AD4B3F159E}"/>
          </ac:spMkLst>
        </pc:spChg>
        <pc:spChg chg="mod">
          <ac:chgData name="Juan Mariscal" userId="cf1bd114-d8bb-4dca-a898-6435f1598182" providerId="ADAL" clId="{5AC425B9-D7D4-4941-BD37-D8CF27BE02C1}" dt="2024-09-13T07:49:57.914" v="1379" actId="20577"/>
          <ac:spMkLst>
            <pc:docMk/>
            <pc:sldMk cId="3710420122" sldId="2147374555"/>
            <ac:spMk id="5" creationId="{6BC862A9-4F31-2087-B687-67B944870887}"/>
          </ac:spMkLst>
        </pc:spChg>
        <pc:spChg chg="mod">
          <ac:chgData name="Juan Mariscal" userId="cf1bd114-d8bb-4dca-a898-6435f1598182" providerId="ADAL" clId="{5AC425B9-D7D4-4941-BD37-D8CF27BE02C1}" dt="2024-09-13T07:52:01.869" v="1635" actId="20577"/>
          <ac:spMkLst>
            <pc:docMk/>
            <pc:sldMk cId="3710420122" sldId="2147374555"/>
            <ac:spMk id="6" creationId="{40E28F84-A28D-0579-4B00-99BD95E7E7C7}"/>
          </ac:spMkLst>
        </pc:spChg>
      </pc:sldChg>
      <pc:sldChg chg="new del">
        <pc:chgData name="Juan Mariscal" userId="cf1bd114-d8bb-4dca-a898-6435f1598182" providerId="ADAL" clId="{5AC425B9-D7D4-4941-BD37-D8CF27BE02C1}" dt="2024-09-13T08:27:04.250" v="2955" actId="47"/>
        <pc:sldMkLst>
          <pc:docMk/>
          <pc:sldMk cId="1725118679" sldId="2147374556"/>
        </pc:sldMkLst>
      </pc:sldChg>
      <pc:sldChg chg="addSp delSp modSp new mod ord modClrScheme chgLayout">
        <pc:chgData name="Juan Mariscal" userId="cf1bd114-d8bb-4dca-a898-6435f1598182" providerId="ADAL" clId="{5AC425B9-D7D4-4941-BD37-D8CF27BE02C1}" dt="2024-09-13T09:04:45.664" v="4452" actId="2711"/>
        <pc:sldMkLst>
          <pc:docMk/>
          <pc:sldMk cId="3784973054" sldId="2147374557"/>
        </pc:sldMkLst>
        <pc:spChg chg="mod ord">
          <ac:chgData name="Juan Mariscal" userId="cf1bd114-d8bb-4dca-a898-6435f1598182" providerId="ADAL" clId="{5AC425B9-D7D4-4941-BD37-D8CF27BE02C1}" dt="2024-09-13T09:04:39.207" v="4451" actId="26606"/>
          <ac:spMkLst>
            <pc:docMk/>
            <pc:sldMk cId="3784973054" sldId="2147374557"/>
            <ac:spMk id="2" creationId="{1ADDE959-786C-B485-631E-2C363BBA19E5}"/>
          </ac:spMkLst>
        </pc:spChg>
        <pc:spChg chg="mod ord">
          <ac:chgData name="Juan Mariscal" userId="cf1bd114-d8bb-4dca-a898-6435f1598182" providerId="ADAL" clId="{5AC425B9-D7D4-4941-BD37-D8CF27BE02C1}" dt="2024-09-13T09:04:45.664" v="4452" actId="2711"/>
          <ac:spMkLst>
            <pc:docMk/>
            <pc:sldMk cId="3784973054" sldId="2147374557"/>
            <ac:spMk id="3" creationId="{2B11E045-12CB-45CE-440F-82D9CDD35A3F}"/>
          </ac:spMkLst>
        </pc:spChg>
        <pc:spChg chg="del">
          <ac:chgData name="Juan Mariscal" userId="cf1bd114-d8bb-4dca-a898-6435f1598182" providerId="ADAL" clId="{5AC425B9-D7D4-4941-BD37-D8CF27BE02C1}" dt="2024-09-13T08:39:52.958" v="3730" actId="478"/>
          <ac:spMkLst>
            <pc:docMk/>
            <pc:sldMk cId="3784973054" sldId="2147374557"/>
            <ac:spMk id="4" creationId="{2FB049AB-21B4-D0AC-F521-2C6175068690}"/>
          </ac:spMkLst>
        </pc:spChg>
        <pc:spChg chg="mod">
          <ac:chgData name="Juan Mariscal" userId="cf1bd114-d8bb-4dca-a898-6435f1598182" providerId="ADAL" clId="{5AC425B9-D7D4-4941-BD37-D8CF27BE02C1}" dt="2024-09-13T09:04:39.207" v="4451" actId="26606"/>
          <ac:spMkLst>
            <pc:docMk/>
            <pc:sldMk cId="3784973054" sldId="2147374557"/>
            <ac:spMk id="5" creationId="{C1063F46-9342-3492-B358-9585ADDADE31}"/>
          </ac:spMkLst>
        </pc:spChg>
        <pc:spChg chg="del">
          <ac:chgData name="Juan Mariscal" userId="cf1bd114-d8bb-4dca-a898-6435f1598182" providerId="ADAL" clId="{5AC425B9-D7D4-4941-BD37-D8CF27BE02C1}" dt="2024-09-13T08:39:55.344" v="3731" actId="478"/>
          <ac:spMkLst>
            <pc:docMk/>
            <pc:sldMk cId="3784973054" sldId="2147374557"/>
            <ac:spMk id="6" creationId="{F4BC175A-BEAC-4D6C-2090-D00564BC6F66}"/>
          </ac:spMkLst>
        </pc:spChg>
        <pc:spChg chg="del">
          <ac:chgData name="Juan Mariscal" userId="cf1bd114-d8bb-4dca-a898-6435f1598182" providerId="ADAL" clId="{5AC425B9-D7D4-4941-BD37-D8CF27BE02C1}" dt="2024-09-13T08:40:00.820" v="3732" actId="478"/>
          <ac:spMkLst>
            <pc:docMk/>
            <pc:sldMk cId="3784973054" sldId="2147374557"/>
            <ac:spMk id="7" creationId="{B1872398-9137-0C12-5917-1AF23372F8C0}"/>
          </ac:spMkLst>
        </pc:spChg>
        <pc:spChg chg="mod ord">
          <ac:chgData name="Juan Mariscal" userId="cf1bd114-d8bb-4dca-a898-6435f1598182" providerId="ADAL" clId="{5AC425B9-D7D4-4941-BD37-D8CF27BE02C1}" dt="2024-09-13T09:04:39.207" v="4451" actId="26606"/>
          <ac:spMkLst>
            <pc:docMk/>
            <pc:sldMk cId="3784973054" sldId="2147374557"/>
            <ac:spMk id="8" creationId="{1499DE8B-2E32-A852-2FED-6722199A854A}"/>
          </ac:spMkLst>
        </pc:spChg>
        <pc:spChg chg="add mod">
          <ac:chgData name="Juan Mariscal" userId="cf1bd114-d8bb-4dca-a898-6435f1598182" providerId="ADAL" clId="{5AC425B9-D7D4-4941-BD37-D8CF27BE02C1}" dt="2024-09-13T09:04:34.365" v="4450" actId="26606"/>
          <ac:spMkLst>
            <pc:docMk/>
            <pc:sldMk cId="3784973054" sldId="2147374557"/>
            <ac:spMk id="17" creationId="{1C0866CC-D8E6-5203-33F5-E9DA98706523}"/>
          </ac:spMkLst>
        </pc:spChg>
        <pc:spChg chg="add">
          <ac:chgData name="Juan Mariscal" userId="cf1bd114-d8bb-4dca-a898-6435f1598182" providerId="ADAL" clId="{5AC425B9-D7D4-4941-BD37-D8CF27BE02C1}" dt="2024-09-13T09:04:39.207" v="4451" actId="26606"/>
          <ac:spMkLst>
            <pc:docMk/>
            <pc:sldMk cId="3784973054" sldId="2147374557"/>
            <ac:spMk id="19" creationId="{45F47FBC-885B-495D-C197-B62EE6842A09}"/>
          </ac:spMkLst>
        </pc:spChg>
        <pc:spChg chg="add">
          <ac:chgData name="Juan Mariscal" userId="cf1bd114-d8bb-4dca-a898-6435f1598182" providerId="ADAL" clId="{5AC425B9-D7D4-4941-BD37-D8CF27BE02C1}" dt="2024-09-13T09:04:39.207" v="4451" actId="26606"/>
          <ac:spMkLst>
            <pc:docMk/>
            <pc:sldMk cId="3784973054" sldId="2147374557"/>
            <ac:spMk id="20" creationId="{4C90B50C-CC65-A46E-C575-8CA5F84C0B9D}"/>
          </ac:spMkLst>
        </pc:spChg>
        <pc:picChg chg="add del mod">
          <ac:chgData name="Juan Mariscal" userId="cf1bd114-d8bb-4dca-a898-6435f1598182" providerId="ADAL" clId="{5AC425B9-D7D4-4941-BD37-D8CF27BE02C1}" dt="2024-09-13T09:03:47.910" v="4447" actId="478"/>
          <ac:picMkLst>
            <pc:docMk/>
            <pc:sldMk cId="3784973054" sldId="2147374557"/>
            <ac:picMk id="10" creationId="{5CA6C94A-2C42-7488-B4D6-05D5EAC6700A}"/>
          </ac:picMkLst>
        </pc:picChg>
        <pc:picChg chg="add mod ord">
          <ac:chgData name="Juan Mariscal" userId="cf1bd114-d8bb-4dca-a898-6435f1598182" providerId="ADAL" clId="{5AC425B9-D7D4-4941-BD37-D8CF27BE02C1}" dt="2024-09-13T09:04:39.207" v="4451" actId="26606"/>
          <ac:picMkLst>
            <pc:docMk/>
            <pc:sldMk cId="3784973054" sldId="2147374557"/>
            <ac:picMk id="12" creationId="{167FD22F-CE56-3FC4-AF92-9E7FFAD35650}"/>
          </ac:picMkLst>
        </pc:picChg>
      </pc:sldChg>
      <pc:sldChg chg="addSp modSp new del">
        <pc:chgData name="Juan Mariscal" userId="cf1bd114-d8bb-4dca-a898-6435f1598182" providerId="ADAL" clId="{5AC425B9-D7D4-4941-BD37-D8CF27BE02C1}" dt="2024-09-13T08:32:14.562" v="3103" actId="47"/>
        <pc:sldMkLst>
          <pc:docMk/>
          <pc:sldMk cId="821699679" sldId="2147374558"/>
        </pc:sldMkLst>
        <pc:picChg chg="add mod">
          <ac:chgData name="Juan Mariscal" userId="cf1bd114-d8bb-4dca-a898-6435f1598182" providerId="ADAL" clId="{5AC425B9-D7D4-4941-BD37-D8CF27BE02C1}" dt="2024-09-13T08:32:01.497" v="3101"/>
          <ac:picMkLst>
            <pc:docMk/>
            <pc:sldMk cId="821699679" sldId="2147374558"/>
            <ac:picMk id="4" creationId="{D508C576-A27C-974B-05A0-B9A5E2D9F9D2}"/>
          </ac:picMkLst>
        </pc:picChg>
      </pc:sldChg>
      <pc:sldChg chg="addSp delSp modSp new mod ord modClrScheme chgLayout">
        <pc:chgData name="Juan Mariscal" userId="cf1bd114-d8bb-4dca-a898-6435f1598182" providerId="ADAL" clId="{5AC425B9-D7D4-4941-BD37-D8CF27BE02C1}" dt="2024-09-13T09:00:15.528" v="4283"/>
        <pc:sldMkLst>
          <pc:docMk/>
          <pc:sldMk cId="2995139789" sldId="2147374558"/>
        </pc:sldMkLst>
        <pc:spChg chg="mod">
          <ac:chgData name="Juan Mariscal" userId="cf1bd114-d8bb-4dca-a898-6435f1598182" providerId="ADAL" clId="{5AC425B9-D7D4-4941-BD37-D8CF27BE02C1}" dt="2024-09-13T09:00:15.528" v="4283"/>
          <ac:spMkLst>
            <pc:docMk/>
            <pc:sldMk cId="2995139789" sldId="2147374558"/>
            <ac:spMk id="2" creationId="{3BC5BD58-A833-FBD2-AB4F-6A9D09A879B0}"/>
          </ac:spMkLst>
        </pc:spChg>
        <pc:spChg chg="mod">
          <ac:chgData name="Juan Mariscal" userId="cf1bd114-d8bb-4dca-a898-6435f1598182" providerId="ADAL" clId="{5AC425B9-D7D4-4941-BD37-D8CF27BE02C1}" dt="2024-09-13T08:59:44.032" v="4278" actId="113"/>
          <ac:spMkLst>
            <pc:docMk/>
            <pc:sldMk cId="2995139789" sldId="2147374558"/>
            <ac:spMk id="3" creationId="{CF8A7887-BA5F-DAD6-CDEA-31B3F19B8285}"/>
          </ac:spMkLst>
        </pc:spChg>
        <pc:spChg chg="add del">
          <ac:chgData name="Juan Mariscal" userId="cf1bd114-d8bb-4dca-a898-6435f1598182" providerId="ADAL" clId="{5AC425B9-D7D4-4941-BD37-D8CF27BE02C1}" dt="2024-09-13T08:59:10.695" v="4272" actId="931"/>
          <ac:spMkLst>
            <pc:docMk/>
            <pc:sldMk cId="2995139789" sldId="2147374558"/>
            <ac:spMk id="4" creationId="{AC8BB81D-CF9A-CF7D-85A9-A411FF9F29D6}"/>
          </ac:spMkLst>
        </pc:spChg>
        <pc:spChg chg="mod">
          <ac:chgData name="Juan Mariscal" userId="cf1bd114-d8bb-4dca-a898-6435f1598182" providerId="ADAL" clId="{5AC425B9-D7D4-4941-BD37-D8CF27BE02C1}" dt="2024-09-13T08:59:58.008" v="4281" actId="207"/>
          <ac:spMkLst>
            <pc:docMk/>
            <pc:sldMk cId="2995139789" sldId="2147374558"/>
            <ac:spMk id="5" creationId="{7F7AB755-32BD-4CB6-A103-23CF3E6031C8}"/>
          </ac:spMkLst>
        </pc:spChg>
        <pc:spChg chg="mod">
          <ac:chgData name="Juan Mariscal" userId="cf1bd114-d8bb-4dca-a898-6435f1598182" providerId="ADAL" clId="{5AC425B9-D7D4-4941-BD37-D8CF27BE02C1}" dt="2024-09-13T08:59:18.844" v="4274" actId="26606"/>
          <ac:spMkLst>
            <pc:docMk/>
            <pc:sldMk cId="2995139789" sldId="2147374558"/>
            <ac:spMk id="6" creationId="{06BA0052-0A84-119B-70B5-3FD66670FA10}"/>
          </ac:spMkLst>
        </pc:spChg>
        <pc:spChg chg="mod">
          <ac:chgData name="Juan Mariscal" userId="cf1bd114-d8bb-4dca-a898-6435f1598182" providerId="ADAL" clId="{5AC425B9-D7D4-4941-BD37-D8CF27BE02C1}" dt="2024-09-13T08:59:18.844" v="4274" actId="26606"/>
          <ac:spMkLst>
            <pc:docMk/>
            <pc:sldMk cId="2995139789" sldId="2147374558"/>
            <ac:spMk id="7" creationId="{21A52E8F-7EE7-2DBD-E25D-1B37BA79C33C}"/>
          </ac:spMkLst>
        </pc:spChg>
        <pc:spChg chg="mod">
          <ac:chgData name="Juan Mariscal" userId="cf1bd114-d8bb-4dca-a898-6435f1598182" providerId="ADAL" clId="{5AC425B9-D7D4-4941-BD37-D8CF27BE02C1}" dt="2024-09-13T08:59:18.844" v="4274" actId="26606"/>
          <ac:spMkLst>
            <pc:docMk/>
            <pc:sldMk cId="2995139789" sldId="2147374558"/>
            <ac:spMk id="8" creationId="{6BDA0976-9ADF-C3CF-1242-19E2255197AF}"/>
          </ac:spMkLst>
        </pc:spChg>
        <pc:spChg chg="add mod">
          <ac:chgData name="Juan Mariscal" userId="cf1bd114-d8bb-4dca-a898-6435f1598182" providerId="ADAL" clId="{5AC425B9-D7D4-4941-BD37-D8CF27BE02C1}" dt="2024-09-13T08:56:31.431" v="4223"/>
          <ac:spMkLst>
            <pc:docMk/>
            <pc:sldMk cId="2995139789" sldId="2147374558"/>
            <ac:spMk id="9" creationId="{E3BA87EE-C7A7-DB70-AEC4-6D7F57727AC1}"/>
          </ac:spMkLst>
        </pc:spChg>
        <pc:picChg chg="add del mod ord">
          <ac:chgData name="Juan Mariscal" userId="cf1bd114-d8bb-4dca-a898-6435f1598182" providerId="ADAL" clId="{5AC425B9-D7D4-4941-BD37-D8CF27BE02C1}" dt="2024-09-13T08:59:00.444" v="4271" actId="34307"/>
          <ac:picMkLst>
            <pc:docMk/>
            <pc:sldMk cId="2995139789" sldId="2147374558"/>
            <ac:picMk id="10" creationId="{497F8C4C-F8C0-80D1-DD66-198F10B3092E}"/>
          </ac:picMkLst>
        </pc:picChg>
        <pc:picChg chg="add mod">
          <ac:chgData name="Juan Mariscal" userId="cf1bd114-d8bb-4dca-a898-6435f1598182" providerId="ADAL" clId="{5AC425B9-D7D4-4941-BD37-D8CF27BE02C1}" dt="2024-09-13T08:59:18.844" v="4274" actId="26606"/>
          <ac:picMkLst>
            <pc:docMk/>
            <pc:sldMk cId="2995139789" sldId="2147374558"/>
            <ac:picMk id="12" creationId="{B8B28A40-DC10-C955-7F72-671388B4C4C4}"/>
          </ac:picMkLst>
        </pc:picChg>
      </pc:sldChg>
      <pc:sldChg chg="new del">
        <pc:chgData name="Juan Mariscal" userId="cf1bd114-d8bb-4dca-a898-6435f1598182" providerId="ADAL" clId="{5AC425B9-D7D4-4941-BD37-D8CF27BE02C1}" dt="2024-09-13T08:22:57.067" v="2820" actId="47"/>
        <pc:sldMkLst>
          <pc:docMk/>
          <pc:sldMk cId="3768820033" sldId="2147374558"/>
        </pc:sldMkLst>
      </pc:sldChg>
      <pc:sldChg chg="addSp modSp new del mod">
        <pc:chgData name="Juan Mariscal" userId="cf1bd114-d8bb-4dca-a898-6435f1598182" providerId="ADAL" clId="{5AC425B9-D7D4-4941-BD37-D8CF27BE02C1}" dt="2024-09-13T09:13:14.549" v="4597" actId="47"/>
        <pc:sldMkLst>
          <pc:docMk/>
          <pc:sldMk cId="683706497" sldId="2147374559"/>
        </pc:sldMkLst>
        <pc:spChg chg="mod">
          <ac:chgData name="Juan Mariscal" userId="cf1bd114-d8bb-4dca-a898-6435f1598182" providerId="ADAL" clId="{5AC425B9-D7D4-4941-BD37-D8CF27BE02C1}" dt="2024-09-13T09:06:49.008" v="4478"/>
          <ac:spMkLst>
            <pc:docMk/>
            <pc:sldMk cId="683706497" sldId="2147374559"/>
            <ac:spMk id="2" creationId="{D8EA2710-DA7B-C482-C771-A985429F7783}"/>
          </ac:spMkLst>
        </pc:spChg>
        <pc:spChg chg="add mod">
          <ac:chgData name="Juan Mariscal" userId="cf1bd114-d8bb-4dca-a898-6435f1598182" providerId="ADAL" clId="{5AC425B9-D7D4-4941-BD37-D8CF27BE02C1}" dt="2024-09-13T09:07:13.288" v="4541" actId="1076"/>
          <ac:spMkLst>
            <pc:docMk/>
            <pc:sldMk cId="683706497" sldId="2147374559"/>
            <ac:spMk id="5" creationId="{318F41BF-0599-B921-1BC6-D34B97AD1EAE}"/>
          </ac:spMkLst>
        </pc:spChg>
      </pc:sldChg>
      <pc:sldChg chg="new del ord">
        <pc:chgData name="Juan Mariscal" userId="cf1bd114-d8bb-4dca-a898-6435f1598182" providerId="ADAL" clId="{5AC425B9-D7D4-4941-BD37-D8CF27BE02C1}" dt="2024-09-13T08:30:29.824" v="3099" actId="47"/>
        <pc:sldMkLst>
          <pc:docMk/>
          <pc:sldMk cId="1034758159" sldId="2147374559"/>
        </pc:sldMkLst>
      </pc:sldChg>
      <pc:sldChg chg="addSp delSp modSp new del mod">
        <pc:chgData name="Juan Mariscal" userId="cf1bd114-d8bb-4dca-a898-6435f1598182" providerId="ADAL" clId="{5AC425B9-D7D4-4941-BD37-D8CF27BE02C1}" dt="2024-09-13T09:13:08.447" v="4596" actId="47"/>
        <pc:sldMkLst>
          <pc:docMk/>
          <pc:sldMk cId="4087629870" sldId="2147374560"/>
        </pc:sldMkLst>
        <pc:picChg chg="add del mod">
          <ac:chgData name="Juan Mariscal" userId="cf1bd114-d8bb-4dca-a898-6435f1598182" providerId="ADAL" clId="{5AC425B9-D7D4-4941-BD37-D8CF27BE02C1}" dt="2024-09-13T09:12:11.520" v="4591" actId="21"/>
          <ac:picMkLst>
            <pc:docMk/>
            <pc:sldMk cId="4087629870" sldId="2147374560"/>
            <ac:picMk id="6" creationId="{61A0426D-5FBE-BFF0-5747-9420F9388F55}"/>
          </ac:picMkLst>
        </pc:picChg>
        <pc:picChg chg="add del mod">
          <ac:chgData name="Juan Mariscal" userId="cf1bd114-d8bb-4dca-a898-6435f1598182" providerId="ADAL" clId="{5AC425B9-D7D4-4941-BD37-D8CF27BE02C1}" dt="2024-09-13T09:12:02.299" v="4588" actId="21"/>
          <ac:picMkLst>
            <pc:docMk/>
            <pc:sldMk cId="4087629870" sldId="2147374560"/>
            <ac:picMk id="7" creationId="{A8206EE6-A55E-569F-3FA7-BB2555160E89}"/>
          </ac:picMkLst>
        </pc:picChg>
        <pc:picChg chg="add mod">
          <ac:chgData name="Juan Mariscal" userId="cf1bd114-d8bb-4dca-a898-6435f1598182" providerId="ADAL" clId="{5AC425B9-D7D4-4941-BD37-D8CF27BE02C1}" dt="2024-09-13T09:11:32.647" v="4585"/>
          <ac:picMkLst>
            <pc:docMk/>
            <pc:sldMk cId="4087629870" sldId="2147374560"/>
            <ac:picMk id="16" creationId="{D34713A9-C17B-B5EA-1CF5-E0AB7FC12BE0}"/>
          </ac:picMkLst>
        </pc:picChg>
        <pc:picChg chg="add mod">
          <ac:chgData name="Juan Mariscal" userId="cf1bd114-d8bb-4dca-a898-6435f1598182" providerId="ADAL" clId="{5AC425B9-D7D4-4941-BD37-D8CF27BE02C1}" dt="2024-09-13T09:11:32.647" v="4585"/>
          <ac:picMkLst>
            <pc:docMk/>
            <pc:sldMk cId="4087629870" sldId="2147374560"/>
            <ac:picMk id="18" creationId="{BDCE9746-994F-8CDB-1482-68480D8E855D}"/>
          </ac:picMkLst>
        </pc:picChg>
      </pc:sldChg>
      <pc:sldChg chg="addSp delSp modSp new mod setBg">
        <pc:chgData name="Juan Mariscal" userId="cf1bd114-d8bb-4dca-a898-6435f1598182" providerId="ADAL" clId="{5AC425B9-D7D4-4941-BD37-D8CF27BE02C1}" dt="2024-09-13T09:12:26.810" v="4595" actId="478"/>
        <pc:sldMkLst>
          <pc:docMk/>
          <pc:sldMk cId="302259174" sldId="2147374561"/>
        </pc:sldMkLst>
        <pc:spChg chg="mod ord">
          <ac:chgData name="Juan Mariscal" userId="cf1bd114-d8bb-4dca-a898-6435f1598182" providerId="ADAL" clId="{5AC425B9-D7D4-4941-BD37-D8CF27BE02C1}" dt="2024-09-13T09:10:24.784" v="4579" actId="26606"/>
          <ac:spMkLst>
            <pc:docMk/>
            <pc:sldMk cId="302259174" sldId="2147374561"/>
            <ac:spMk id="2" creationId="{BD59C8FA-454C-D88B-ACF9-02BAE245C61D}"/>
          </ac:spMkLst>
        </pc:spChg>
        <pc:spChg chg="add">
          <ac:chgData name="Juan Mariscal" userId="cf1bd114-d8bb-4dca-a898-6435f1598182" providerId="ADAL" clId="{5AC425B9-D7D4-4941-BD37-D8CF27BE02C1}" dt="2024-09-13T09:10:24.784" v="4579" actId="26606"/>
          <ac:spMkLst>
            <pc:docMk/>
            <pc:sldMk cId="302259174" sldId="2147374561"/>
            <ac:spMk id="19" creationId="{A5A17FC0-D416-4C8B-A9E6-5924D352B986}"/>
          </ac:spMkLst>
        </pc:spChg>
        <pc:picChg chg="add mod ord">
          <ac:chgData name="Juan Mariscal" userId="cf1bd114-d8bb-4dca-a898-6435f1598182" providerId="ADAL" clId="{5AC425B9-D7D4-4941-BD37-D8CF27BE02C1}" dt="2024-09-13T09:10:24.784" v="4579" actId="26606"/>
          <ac:picMkLst>
            <pc:docMk/>
            <pc:sldMk cId="302259174" sldId="2147374561"/>
            <ac:picMk id="4" creationId="{0492D0E4-C39C-0766-4B04-B610051755CC}"/>
          </ac:picMkLst>
        </pc:picChg>
        <pc:picChg chg="add mod">
          <ac:chgData name="Juan Mariscal" userId="cf1bd114-d8bb-4dca-a898-6435f1598182" providerId="ADAL" clId="{5AC425B9-D7D4-4941-BD37-D8CF27BE02C1}" dt="2024-09-13T09:10:24.784" v="4579" actId="26606"/>
          <ac:picMkLst>
            <pc:docMk/>
            <pc:sldMk cId="302259174" sldId="2147374561"/>
            <ac:picMk id="6" creationId="{73741E11-95CB-1644-F233-CCA84E25CBC1}"/>
          </ac:picMkLst>
        </pc:picChg>
        <pc:picChg chg="add mod ord">
          <ac:chgData name="Juan Mariscal" userId="cf1bd114-d8bb-4dca-a898-6435f1598182" providerId="ADAL" clId="{5AC425B9-D7D4-4941-BD37-D8CF27BE02C1}" dt="2024-09-13T09:10:24.784" v="4579" actId="26606"/>
          <ac:picMkLst>
            <pc:docMk/>
            <pc:sldMk cId="302259174" sldId="2147374561"/>
            <ac:picMk id="8" creationId="{4BE100CA-1CBD-2076-D891-36EAA72E7AFD}"/>
          </ac:picMkLst>
        </pc:picChg>
        <pc:picChg chg="add mod ord">
          <ac:chgData name="Juan Mariscal" userId="cf1bd114-d8bb-4dca-a898-6435f1598182" providerId="ADAL" clId="{5AC425B9-D7D4-4941-BD37-D8CF27BE02C1}" dt="2024-09-13T09:10:24.784" v="4579" actId="26606"/>
          <ac:picMkLst>
            <pc:docMk/>
            <pc:sldMk cId="302259174" sldId="2147374561"/>
            <ac:picMk id="10" creationId="{C27C3D91-526E-8B58-5513-9188E6FA65FF}"/>
          </ac:picMkLst>
        </pc:picChg>
        <pc:picChg chg="add mod">
          <ac:chgData name="Juan Mariscal" userId="cf1bd114-d8bb-4dca-a898-6435f1598182" providerId="ADAL" clId="{5AC425B9-D7D4-4941-BD37-D8CF27BE02C1}" dt="2024-09-13T09:10:24.784" v="4579" actId="26606"/>
          <ac:picMkLst>
            <pc:docMk/>
            <pc:sldMk cId="302259174" sldId="2147374561"/>
            <ac:picMk id="12" creationId="{04E41252-1201-4E1F-4225-AC098875A780}"/>
          </ac:picMkLst>
        </pc:picChg>
        <pc:picChg chg="add mod">
          <ac:chgData name="Juan Mariscal" userId="cf1bd114-d8bb-4dca-a898-6435f1598182" providerId="ADAL" clId="{5AC425B9-D7D4-4941-BD37-D8CF27BE02C1}" dt="2024-09-13T09:10:24.784" v="4579" actId="26606"/>
          <ac:picMkLst>
            <pc:docMk/>
            <pc:sldMk cId="302259174" sldId="2147374561"/>
            <ac:picMk id="14" creationId="{DC87B198-84A8-2F46-2AB8-2D6B2BFE6E1D}"/>
          </ac:picMkLst>
        </pc:picChg>
        <pc:picChg chg="add del mod">
          <ac:chgData name="Juan Mariscal" userId="cf1bd114-d8bb-4dca-a898-6435f1598182" providerId="ADAL" clId="{5AC425B9-D7D4-4941-BD37-D8CF27BE02C1}" dt="2024-09-13T09:11:28.231" v="4584" actId="21"/>
          <ac:picMkLst>
            <pc:docMk/>
            <pc:sldMk cId="302259174" sldId="2147374561"/>
            <ac:picMk id="16" creationId="{D34713A9-C17B-B5EA-1CF5-E0AB7FC12BE0}"/>
          </ac:picMkLst>
        </pc:picChg>
        <pc:picChg chg="add del mod">
          <ac:chgData name="Juan Mariscal" userId="cf1bd114-d8bb-4dca-a898-6435f1598182" providerId="ADAL" clId="{5AC425B9-D7D4-4941-BD37-D8CF27BE02C1}" dt="2024-09-13T09:11:28.231" v="4584" actId="21"/>
          <ac:picMkLst>
            <pc:docMk/>
            <pc:sldMk cId="302259174" sldId="2147374561"/>
            <ac:picMk id="18" creationId="{BDCE9746-994F-8CDB-1482-68480D8E855D}"/>
          </ac:picMkLst>
        </pc:picChg>
        <pc:picChg chg="add del mod">
          <ac:chgData name="Juan Mariscal" userId="cf1bd114-d8bb-4dca-a898-6435f1598182" providerId="ADAL" clId="{5AC425B9-D7D4-4941-BD37-D8CF27BE02C1}" dt="2024-09-13T09:12:26.810" v="4595" actId="478"/>
          <ac:picMkLst>
            <pc:docMk/>
            <pc:sldMk cId="302259174" sldId="2147374561"/>
            <ac:picMk id="20" creationId="{A8206EE6-A55E-569F-3FA7-BB2555160E89}"/>
          </ac:picMkLst>
        </pc:picChg>
        <pc:picChg chg="add del mod">
          <ac:chgData name="Juan Mariscal" userId="cf1bd114-d8bb-4dca-a898-6435f1598182" providerId="ADAL" clId="{5AC425B9-D7D4-4941-BD37-D8CF27BE02C1}" dt="2024-09-13T09:12:25.160" v="4594" actId="478"/>
          <ac:picMkLst>
            <pc:docMk/>
            <pc:sldMk cId="302259174" sldId="2147374561"/>
            <ac:picMk id="22" creationId="{61A0426D-5FBE-BFF0-5747-9420F9388F55}"/>
          </ac:picMkLst>
        </pc:picChg>
        <pc:cxnChg chg="add">
          <ac:chgData name="Juan Mariscal" userId="cf1bd114-d8bb-4dca-a898-6435f1598182" providerId="ADAL" clId="{5AC425B9-D7D4-4941-BD37-D8CF27BE02C1}" dt="2024-09-13T09:10:24.784" v="4579" actId="26606"/>
          <ac:cxnSpMkLst>
            <pc:docMk/>
            <pc:sldMk cId="302259174" sldId="2147374561"/>
            <ac:cxnSpMk id="21" creationId="{982DC870-E8E5-4050-B10C-CC24FC67E50A}"/>
          </ac:cxnSpMkLst>
        </pc:cxnChg>
        <pc:cxnChg chg="add">
          <ac:chgData name="Juan Mariscal" userId="cf1bd114-d8bb-4dca-a898-6435f1598182" providerId="ADAL" clId="{5AC425B9-D7D4-4941-BD37-D8CF27BE02C1}" dt="2024-09-13T09:10:24.784" v="4579" actId="26606"/>
          <ac:cxnSpMkLst>
            <pc:docMk/>
            <pc:sldMk cId="302259174" sldId="2147374561"/>
            <ac:cxnSpMk id="23" creationId="{FF76A74F-C283-4DED-BD4D-086753B7CB00}"/>
          </ac:cxnSpMkLst>
        </pc:cxnChg>
        <pc:cxnChg chg="add">
          <ac:chgData name="Juan Mariscal" userId="cf1bd114-d8bb-4dca-a898-6435f1598182" providerId="ADAL" clId="{5AC425B9-D7D4-4941-BD37-D8CF27BE02C1}" dt="2024-09-13T09:10:24.784" v="4579" actId="26606"/>
          <ac:cxnSpMkLst>
            <pc:docMk/>
            <pc:sldMk cId="302259174" sldId="2147374561"/>
            <ac:cxnSpMk id="25" creationId="{3B2791FB-B2F7-4BBE-B8D8-74C37FF9E85C}"/>
          </ac:cxnSpMkLst>
        </pc:cxnChg>
        <pc:cxnChg chg="add">
          <ac:chgData name="Juan Mariscal" userId="cf1bd114-d8bb-4dca-a898-6435f1598182" providerId="ADAL" clId="{5AC425B9-D7D4-4941-BD37-D8CF27BE02C1}" dt="2024-09-13T09:10:24.784" v="4579" actId="26606"/>
          <ac:cxnSpMkLst>
            <pc:docMk/>
            <pc:sldMk cId="302259174" sldId="2147374561"/>
            <ac:cxnSpMk id="27" creationId="{9891B5DE-6811-4844-BB18-472A3F360EE5}"/>
          </ac:cxnSpMkLst>
        </pc:cxnChg>
        <pc:cxnChg chg="add">
          <ac:chgData name="Juan Mariscal" userId="cf1bd114-d8bb-4dca-a898-6435f1598182" providerId="ADAL" clId="{5AC425B9-D7D4-4941-BD37-D8CF27BE02C1}" dt="2024-09-13T09:10:24.784" v="4579" actId="26606"/>
          <ac:cxnSpMkLst>
            <pc:docMk/>
            <pc:sldMk cId="302259174" sldId="2147374561"/>
            <ac:cxnSpMk id="29" creationId="{77A9CA3A-7216-41E0-B3CD-058077FD396D}"/>
          </ac:cxnSpMkLst>
        </pc:cxnChg>
      </pc:sldChg>
      <pc:sldMasterChg chg="del delSldLayout">
        <pc:chgData name="Juan Mariscal" userId="cf1bd114-d8bb-4dca-a898-6435f1598182" providerId="ADAL" clId="{5AC425B9-D7D4-4941-BD37-D8CF27BE02C1}" dt="2024-09-13T06:59:12.534" v="69" actId="47"/>
        <pc:sldMasterMkLst>
          <pc:docMk/>
          <pc:sldMasterMk cId="3197630772" sldId="2147483648"/>
        </pc:sldMasterMkLst>
        <pc:sldLayoutChg chg="del">
          <pc:chgData name="Juan Mariscal" userId="cf1bd114-d8bb-4dca-a898-6435f1598182" providerId="ADAL" clId="{5AC425B9-D7D4-4941-BD37-D8CF27BE02C1}" dt="2024-09-13T06:59:12.534" v="69" actId="47"/>
          <pc:sldLayoutMkLst>
            <pc:docMk/>
            <pc:sldMasterMk cId="3197630772" sldId="2147483648"/>
            <pc:sldLayoutMk cId="4231934770" sldId="2147483649"/>
          </pc:sldLayoutMkLst>
        </pc:sldLayoutChg>
        <pc:sldLayoutChg chg="del">
          <pc:chgData name="Juan Mariscal" userId="cf1bd114-d8bb-4dca-a898-6435f1598182" providerId="ADAL" clId="{5AC425B9-D7D4-4941-BD37-D8CF27BE02C1}" dt="2024-09-13T06:59:12.534" v="69" actId="47"/>
          <pc:sldLayoutMkLst>
            <pc:docMk/>
            <pc:sldMasterMk cId="3197630772" sldId="2147483648"/>
            <pc:sldLayoutMk cId="2167646501" sldId="2147483650"/>
          </pc:sldLayoutMkLst>
        </pc:sldLayoutChg>
        <pc:sldLayoutChg chg="del">
          <pc:chgData name="Juan Mariscal" userId="cf1bd114-d8bb-4dca-a898-6435f1598182" providerId="ADAL" clId="{5AC425B9-D7D4-4941-BD37-D8CF27BE02C1}" dt="2024-09-13T06:59:12.534" v="69" actId="47"/>
          <pc:sldLayoutMkLst>
            <pc:docMk/>
            <pc:sldMasterMk cId="3197630772" sldId="2147483648"/>
            <pc:sldLayoutMk cId="2547686353" sldId="2147483651"/>
          </pc:sldLayoutMkLst>
        </pc:sldLayoutChg>
        <pc:sldLayoutChg chg="del">
          <pc:chgData name="Juan Mariscal" userId="cf1bd114-d8bb-4dca-a898-6435f1598182" providerId="ADAL" clId="{5AC425B9-D7D4-4941-BD37-D8CF27BE02C1}" dt="2024-09-13T06:59:12.534" v="69" actId="47"/>
          <pc:sldLayoutMkLst>
            <pc:docMk/>
            <pc:sldMasterMk cId="3197630772" sldId="2147483648"/>
            <pc:sldLayoutMk cId="3130378530" sldId="2147483652"/>
          </pc:sldLayoutMkLst>
        </pc:sldLayoutChg>
        <pc:sldLayoutChg chg="del">
          <pc:chgData name="Juan Mariscal" userId="cf1bd114-d8bb-4dca-a898-6435f1598182" providerId="ADAL" clId="{5AC425B9-D7D4-4941-BD37-D8CF27BE02C1}" dt="2024-09-13T06:59:12.534" v="69" actId="47"/>
          <pc:sldLayoutMkLst>
            <pc:docMk/>
            <pc:sldMasterMk cId="3197630772" sldId="2147483648"/>
            <pc:sldLayoutMk cId="3351638842" sldId="2147483653"/>
          </pc:sldLayoutMkLst>
        </pc:sldLayoutChg>
        <pc:sldLayoutChg chg="del">
          <pc:chgData name="Juan Mariscal" userId="cf1bd114-d8bb-4dca-a898-6435f1598182" providerId="ADAL" clId="{5AC425B9-D7D4-4941-BD37-D8CF27BE02C1}" dt="2024-09-13T06:59:12.534" v="69" actId="47"/>
          <pc:sldLayoutMkLst>
            <pc:docMk/>
            <pc:sldMasterMk cId="3197630772" sldId="2147483648"/>
            <pc:sldLayoutMk cId="3511268671" sldId="2147483654"/>
          </pc:sldLayoutMkLst>
        </pc:sldLayoutChg>
        <pc:sldLayoutChg chg="del">
          <pc:chgData name="Juan Mariscal" userId="cf1bd114-d8bb-4dca-a898-6435f1598182" providerId="ADAL" clId="{5AC425B9-D7D4-4941-BD37-D8CF27BE02C1}" dt="2024-09-13T06:59:12.534" v="69" actId="47"/>
          <pc:sldLayoutMkLst>
            <pc:docMk/>
            <pc:sldMasterMk cId="3197630772" sldId="2147483648"/>
            <pc:sldLayoutMk cId="1865909306" sldId="2147483655"/>
          </pc:sldLayoutMkLst>
        </pc:sldLayoutChg>
        <pc:sldLayoutChg chg="del">
          <pc:chgData name="Juan Mariscal" userId="cf1bd114-d8bb-4dca-a898-6435f1598182" providerId="ADAL" clId="{5AC425B9-D7D4-4941-BD37-D8CF27BE02C1}" dt="2024-09-13T06:59:12.534" v="69" actId="47"/>
          <pc:sldLayoutMkLst>
            <pc:docMk/>
            <pc:sldMasterMk cId="3197630772" sldId="2147483648"/>
            <pc:sldLayoutMk cId="2717878215" sldId="2147483656"/>
          </pc:sldLayoutMkLst>
        </pc:sldLayoutChg>
        <pc:sldLayoutChg chg="del">
          <pc:chgData name="Juan Mariscal" userId="cf1bd114-d8bb-4dca-a898-6435f1598182" providerId="ADAL" clId="{5AC425B9-D7D4-4941-BD37-D8CF27BE02C1}" dt="2024-09-13T06:59:12.534" v="69" actId="47"/>
          <pc:sldLayoutMkLst>
            <pc:docMk/>
            <pc:sldMasterMk cId="3197630772" sldId="2147483648"/>
            <pc:sldLayoutMk cId="927292226" sldId="2147483657"/>
          </pc:sldLayoutMkLst>
        </pc:sldLayoutChg>
        <pc:sldLayoutChg chg="del">
          <pc:chgData name="Juan Mariscal" userId="cf1bd114-d8bb-4dca-a898-6435f1598182" providerId="ADAL" clId="{5AC425B9-D7D4-4941-BD37-D8CF27BE02C1}" dt="2024-09-13T06:59:12.534" v="69" actId="47"/>
          <pc:sldLayoutMkLst>
            <pc:docMk/>
            <pc:sldMasterMk cId="3197630772" sldId="2147483648"/>
            <pc:sldLayoutMk cId="3118953474" sldId="2147483658"/>
          </pc:sldLayoutMkLst>
        </pc:sldLayoutChg>
        <pc:sldLayoutChg chg="del">
          <pc:chgData name="Juan Mariscal" userId="cf1bd114-d8bb-4dca-a898-6435f1598182" providerId="ADAL" clId="{5AC425B9-D7D4-4941-BD37-D8CF27BE02C1}" dt="2024-09-13T06:59:12.534" v="69" actId="47"/>
          <pc:sldLayoutMkLst>
            <pc:docMk/>
            <pc:sldMasterMk cId="3197630772" sldId="2147483648"/>
            <pc:sldLayoutMk cId="2212242111" sldId="2147483659"/>
          </pc:sldLayoutMkLst>
        </pc:sldLayoutChg>
      </pc:sldMasterChg>
      <pc:sldMasterChg chg="delSldLayout">
        <pc:chgData name="Juan Mariscal" userId="cf1bd114-d8bb-4dca-a898-6435f1598182" providerId="ADAL" clId="{5AC425B9-D7D4-4941-BD37-D8CF27BE02C1}" dt="2024-09-13T08:26:59.636" v="2952" actId="47"/>
        <pc:sldMasterMkLst>
          <pc:docMk/>
          <pc:sldMasterMk cId="3106601469" sldId="2147483778"/>
        </pc:sldMasterMkLst>
        <pc:sldLayoutChg chg="del">
          <pc:chgData name="Juan Mariscal" userId="cf1bd114-d8bb-4dca-a898-6435f1598182" providerId="ADAL" clId="{5AC425B9-D7D4-4941-BD37-D8CF27BE02C1}" dt="2024-09-13T08:26:59.636" v="2952" actId="47"/>
          <pc:sldLayoutMkLst>
            <pc:docMk/>
            <pc:sldMasterMk cId="3106601469" sldId="2147483778"/>
            <pc:sldLayoutMk cId="650480368" sldId="2147483804"/>
          </pc:sldLayoutMkLst>
        </pc:sldLayoutChg>
      </pc:sldMasterChg>
    </pc:docChg>
  </pc:docChgLst>
</pc:chgInfo>
</file>

<file path=ppt/comments/modernComment_420_9844E7A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16F549F-DFEA-4A72-8C5C-662EF9782E7D}" authorId="{00000000-0000-0000-0000-000000000000}" created="2023-07-21T10:04:56.579">
    <pc:sldMkLst xmlns:pc="http://schemas.microsoft.com/office/powerpoint/2013/main/command">
      <pc:docMk/>
      <pc:sldMk cId="3125106453" sldId="1052"/>
    </pc:sldMkLst>
    <p188:txBody>
      <a:bodyPr/>
      <a:lstStyle/>
      <a:p>
        <a:r>
          <a:rPr lang="en-DE"/>
          <a:t>Richtige Slide Layout</a:t>
        </a:r>
      </a:p>
    </p188:txBody>
  </p188:cm>
  <p188:cm id="{789B1606-5190-4125-AD43-574093A4A5FE}" authorId="{00000000-0000-0000-0000-000000000000}" created="2024-02-13T12:57:12.05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554652590" sldId="1056"/>
      <ac:spMk id="23" creationId="{A7DD75E3-56C6-36F2-590A-FE6F231105AA}"/>
    </ac:deMkLst>
    <p188:txBody>
      <a:bodyPr/>
      <a:lstStyle/>
      <a:p>
        <a:r>
          <a:rPr lang="en-US"/>
          <a:t>Edit the photo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y personally focusing tailored made engaging workshops by instit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C741A-D528-4EAF-B5C2-20EAA993A88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9565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t’s more than our dear neighbors in </a:t>
            </a:r>
            <a:r>
              <a:rPr lang="en-US" dirty="0" err="1"/>
              <a:t>denmark</a:t>
            </a:r>
            <a:r>
              <a:rPr lang="en-US" dirty="0"/>
              <a:t> </a:t>
            </a:r>
            <a:r>
              <a:rPr lang="en-US" dirty="0" err="1"/>
              <a:t>gdp</a:t>
            </a:r>
            <a:r>
              <a:rPr lang="en-US" dirty="0"/>
              <a:t> in 2021</a:t>
            </a:r>
            <a:br>
              <a:rPr lang="en-US" dirty="0"/>
            </a:br>
            <a:r>
              <a:rPr lang="en-US" dirty="0"/>
              <a:t>https://www.statista.com/statistics/613071/gdp-by-country-in-europe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20BB70-068B-48F2-BFF7-6233B8731F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09869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B0CD9F-A269-43BC-871E-6CD37F9FA027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97610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CB5CFF-2A1A-BE69-307C-F65B4256EF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E54416-0587-A130-85B2-62716E80EB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C6E8ECB-D56A-A8E6-3093-23FDA76533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000" dirty="0"/>
              <a:t>https://www.linkedin.com/in/juan-carlos-mariscal-grau-sustainability/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42271C-D762-6A20-7F6A-1993B1A80EF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B0CD9F-A269-43BC-871E-6CD37F9FA027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06929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C741A-D528-4EAF-B5C2-20EAA993A88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6926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lnSpc>
                <a:spcPts val="17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tx2"/>
                </a:solidFill>
              </a:rPr>
              <a:t>I took the liberty of interviewing a consultant working in the field and thought it was super interesting what his main challenge was.</a:t>
            </a:r>
            <a:endParaRPr lang="en-US" sz="1100" dirty="0">
              <a:solidFill>
                <a:schemeClr val="accent1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20BB70-068B-48F2-BFF7-6233B8731F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7275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if we found a way to make </a:t>
            </a:r>
            <a:r>
              <a:rPr lang="en-US" dirty="0" err="1"/>
              <a:t>statista</a:t>
            </a:r>
            <a:r>
              <a:rPr lang="en-US" dirty="0"/>
              <a:t> a NEED to have for all academic institutions in Europe? ~50m of the budget is allotted to innovation, inclusivity ,climate and environmental challenges. could we empower schools to access this budget with our data?</a:t>
            </a:r>
            <a:br>
              <a:rPr lang="en-US" dirty="0"/>
            </a:br>
            <a:br>
              <a:rPr lang="en-US" dirty="0"/>
            </a:br>
            <a:r>
              <a:rPr lang="en-US" dirty="0"/>
              <a:t>30% increase in 2021, “demonstrates the broad consensus on the key role of research and innovation in acceleration green and digital transformation strengthening </a:t>
            </a:r>
            <a:r>
              <a:rPr lang="en-US" dirty="0" err="1"/>
              <a:t>europes</a:t>
            </a:r>
            <a:r>
              <a:rPr lang="en-US" dirty="0"/>
              <a:t> preparedness to face future crises and supporting </a:t>
            </a:r>
            <a:r>
              <a:rPr lang="en-US" dirty="0" err="1"/>
              <a:t>europes</a:t>
            </a:r>
            <a:r>
              <a:rPr lang="en-US" dirty="0"/>
              <a:t> competitive edge in the global race for knowledge” 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pg</a:t>
            </a:r>
            <a:r>
              <a:rPr lang="en-US" dirty="0"/>
              <a:t> 3 https://op.europa.eu/en/publication-detail/-/publication/1f107d76-acbe-11eb-9767-01aa75ed71a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20BB70-068B-48F2-BFF7-6233B8731F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346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que </a:t>
            </a:r>
            <a:r>
              <a:rPr lang="en-US" dirty="0" err="1"/>
              <a:t>progreso</a:t>
            </a:r>
            <a:r>
              <a:rPr lang="en-US" dirty="0"/>
              <a:t> </a:t>
            </a:r>
            <a:r>
              <a:rPr lang="en-US" dirty="0" err="1"/>
              <a:t>llevamos</a:t>
            </a:r>
            <a:r>
              <a:rPr lang="en-US" dirty="0"/>
              <a:t> hasta </a:t>
            </a:r>
            <a:r>
              <a:rPr lang="en-US" dirty="0" err="1"/>
              <a:t>ahorita</a:t>
            </a:r>
            <a:r>
              <a:rPr lang="en-US" dirty="0"/>
              <a:t>?</a:t>
            </a:r>
            <a:br>
              <a:rPr lang="en-US" dirty="0"/>
            </a:br>
            <a:r>
              <a:rPr lang="en-US" dirty="0"/>
              <a:t>SMI= </a:t>
            </a:r>
            <a:r>
              <a:rPr lang="en-US" dirty="0" err="1"/>
              <a:t>ConI</a:t>
            </a:r>
            <a:r>
              <a:rPr lang="en-US" dirty="0"/>
              <a:t> sustainability consumption survey update 2023 (most clicked special) &amp; </a:t>
            </a:r>
            <a:r>
              <a:rPr lang="en-US" dirty="0" err="1"/>
              <a:t>ComI</a:t>
            </a:r>
            <a:r>
              <a:rPr lang="en-US" dirty="0"/>
              <a:t> new awesome climate leader filter from our Ranki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20BB70-068B-48F2-BFF7-6233B8731F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72097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/>
              <a:t>tim</a:t>
            </a:r>
            <a:r>
              <a:rPr lang="en-US"/>
              <a:t> Kroger and Friedrich </a:t>
            </a:r>
            <a:r>
              <a:rPr lang="en-US" err="1"/>
              <a:t>schwandt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40E157-1154-4745-809F-1B45B59FA69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85885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BOUT OUR DATA</a:t>
            </a:r>
            <a:br>
              <a:rPr lang="en-US" sz="12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US" sz="12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its easier to visualize </a:t>
            </a:r>
            <a:r>
              <a:rPr lang="en-US" sz="12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tista</a:t>
            </a:r>
            <a:r>
              <a:rPr lang="en-US" sz="12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s the </a:t>
            </a:r>
            <a:r>
              <a:rPr lang="en-US" sz="12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tflix</a:t>
            </a:r>
            <a:r>
              <a:rPr lang="en-US" sz="12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f data, we have data from other trusted sources (35% purchased partnerships) and also our own 49% (exclusive own stats, own analysts looking for interesting topics). And then 16% publicly </a:t>
            </a:r>
            <a:r>
              <a:rPr lang="en-US" sz="120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ccesible</a:t>
            </a:r>
            <a:r>
              <a:rPr lang="en-US" sz="12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econdary sources (you can find on google)</a:t>
            </a:r>
            <a:br>
              <a:rPr lang="en-US" sz="12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40E157-1154-4745-809F-1B45B59FA69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823853A-0152-4A9F-8983-A09B21198F4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7.07.2020</a:t>
            </a:r>
          </a:p>
        </p:txBody>
      </p:sp>
      <p:sp>
        <p:nvSpPr>
          <p:cNvPr id="6" name="Kopfzeilenplatzhalter 5">
            <a:extLst>
              <a:ext uri="{FF2B5EF4-FFF2-40B4-BE49-F238E27FC236}">
                <a16:creationId xmlns:a16="http://schemas.microsoft.com/office/drawing/2014/main" id="{A839D05D-ABBF-4551-AD1D-82C05383D415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w the economy is impacted by COVID-19</a:t>
            </a: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97008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C741A-D528-4EAF-B5C2-20EAA993A88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5523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C741A-D528-4EAF-B5C2-20EAA993A88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7154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AC741A-D528-4EAF-B5C2-20EAA993A88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492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4.emf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13" Type="http://schemas.openxmlformats.org/officeDocument/2006/relationships/image" Target="../media/image10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3.svg"/><Relationship Id="rId1" Type="http://schemas.openxmlformats.org/officeDocument/2006/relationships/tags" Target="../tags/tag1.xml"/><Relationship Id="rId6" Type="http://schemas.openxmlformats.org/officeDocument/2006/relationships/image" Target="../media/image3.sv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5" Type="http://schemas.openxmlformats.org/officeDocument/2006/relationships/image" Target="../media/image12.png"/><Relationship Id="rId10" Type="http://schemas.openxmlformats.org/officeDocument/2006/relationships/image" Target="../media/image7.svg"/><Relationship Id="rId4" Type="http://schemas.openxmlformats.org/officeDocument/2006/relationships/image" Target="../media/image1.emf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16.png"/><Relationship Id="rId4" Type="http://schemas.openxmlformats.org/officeDocument/2006/relationships/image" Target="../media/image1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4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4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5" Type="http://schemas.openxmlformats.org/officeDocument/2006/relationships/image" Target="../media/image16.png"/><Relationship Id="rId4" Type="http://schemas.openxmlformats.org/officeDocument/2006/relationships/image" Target="../media/image14.emf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14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4.emf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9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34.xml"/><Relationship Id="rId34" Type="http://schemas.openxmlformats.org/officeDocument/2006/relationships/slideLayout" Target="../slideLayouts/slideLayout47.xml"/><Relationship Id="rId42" Type="http://schemas.openxmlformats.org/officeDocument/2006/relationships/slideLayout" Target="../slideLayouts/slideLayout55.xml"/><Relationship Id="rId47" Type="http://schemas.openxmlformats.org/officeDocument/2006/relationships/slideLayout" Target="../slideLayouts/slideLayout60.xml"/><Relationship Id="rId50" Type="http://schemas.openxmlformats.org/officeDocument/2006/relationships/slideLayout" Target="../slideLayouts/slideLayout63.xml"/><Relationship Id="rId55" Type="http://schemas.openxmlformats.org/officeDocument/2006/relationships/oleObject" Target="../embeddings/oleObject3.bin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40" Type="http://schemas.openxmlformats.org/officeDocument/2006/relationships/slideLayout" Target="../slideLayouts/slideLayout53.xml"/><Relationship Id="rId45" Type="http://schemas.openxmlformats.org/officeDocument/2006/relationships/slideLayout" Target="../slideLayouts/slideLayout58.xml"/><Relationship Id="rId53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4" Type="http://schemas.openxmlformats.org/officeDocument/2006/relationships/slideLayout" Target="../slideLayouts/slideLayout57.xml"/><Relationship Id="rId52" Type="http://schemas.openxmlformats.org/officeDocument/2006/relationships/slideLayout" Target="../slideLayouts/slideLayout65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43" Type="http://schemas.openxmlformats.org/officeDocument/2006/relationships/slideLayout" Target="../slideLayouts/slideLayout56.xml"/><Relationship Id="rId48" Type="http://schemas.openxmlformats.org/officeDocument/2006/relationships/slideLayout" Target="../slideLayouts/slideLayout61.xml"/><Relationship Id="rId56" Type="http://schemas.openxmlformats.org/officeDocument/2006/relationships/image" Target="../media/image14.emf"/><Relationship Id="rId8" Type="http://schemas.openxmlformats.org/officeDocument/2006/relationships/slideLayout" Target="../slideLayouts/slideLayout21.xml"/><Relationship Id="rId51" Type="http://schemas.openxmlformats.org/officeDocument/2006/relationships/slideLayout" Target="../slideLayouts/slideLayout64.xml"/><Relationship Id="rId3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51.xml"/><Relationship Id="rId4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33.xml"/><Relationship Id="rId41" Type="http://schemas.openxmlformats.org/officeDocument/2006/relationships/slideLayout" Target="../slideLayouts/slideLayout54.xml"/><Relationship Id="rId54" Type="http://schemas.openxmlformats.org/officeDocument/2006/relationships/tags" Target="../tags/tag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slideLayout" Target="../slideLayouts/slideLayout49.xml"/><Relationship Id="rId49" Type="http://schemas.openxmlformats.org/officeDocument/2006/relationships/slideLayout" Target="../slideLayouts/slideLayout6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9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86.xml"/><Relationship Id="rId34" Type="http://schemas.openxmlformats.org/officeDocument/2006/relationships/slideLayout" Target="../slideLayouts/slideLayout99.xml"/><Relationship Id="rId42" Type="http://schemas.openxmlformats.org/officeDocument/2006/relationships/slideLayout" Target="../slideLayouts/slideLayout107.xml"/><Relationship Id="rId47" Type="http://schemas.openxmlformats.org/officeDocument/2006/relationships/slideLayout" Target="../slideLayouts/slideLayout112.xml"/><Relationship Id="rId50" Type="http://schemas.openxmlformats.org/officeDocument/2006/relationships/slideLayout" Target="../slideLayouts/slideLayout115.xml"/><Relationship Id="rId55" Type="http://schemas.openxmlformats.org/officeDocument/2006/relationships/image" Target="../media/image14.emf"/><Relationship Id="rId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97.xml"/><Relationship Id="rId37" Type="http://schemas.openxmlformats.org/officeDocument/2006/relationships/slideLayout" Target="../slideLayouts/slideLayout102.xml"/><Relationship Id="rId40" Type="http://schemas.openxmlformats.org/officeDocument/2006/relationships/slideLayout" Target="../slideLayouts/slideLayout105.xml"/><Relationship Id="rId45" Type="http://schemas.openxmlformats.org/officeDocument/2006/relationships/slideLayout" Target="../slideLayouts/slideLayout110.xml"/><Relationship Id="rId53" Type="http://schemas.openxmlformats.org/officeDocument/2006/relationships/tags" Target="../tags/tag12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slideLayout" Target="../slideLayouts/slideLayout96.xml"/><Relationship Id="rId44" Type="http://schemas.openxmlformats.org/officeDocument/2006/relationships/slideLayout" Target="../slideLayouts/slideLayout109.xml"/><Relationship Id="rId52" Type="http://schemas.openxmlformats.org/officeDocument/2006/relationships/theme" Target="../theme/theme3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Relationship Id="rId35" Type="http://schemas.openxmlformats.org/officeDocument/2006/relationships/slideLayout" Target="../slideLayouts/slideLayout100.xml"/><Relationship Id="rId43" Type="http://schemas.openxmlformats.org/officeDocument/2006/relationships/slideLayout" Target="../slideLayouts/slideLayout108.xml"/><Relationship Id="rId48" Type="http://schemas.openxmlformats.org/officeDocument/2006/relationships/slideLayout" Target="../slideLayouts/slideLayout113.xml"/><Relationship Id="rId56" Type="http://schemas.openxmlformats.org/officeDocument/2006/relationships/image" Target="../media/image19.png"/><Relationship Id="rId8" Type="http://schemas.openxmlformats.org/officeDocument/2006/relationships/slideLayout" Target="../slideLayouts/slideLayout73.xml"/><Relationship Id="rId51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slideLayout" Target="../slideLayouts/slideLayout98.xml"/><Relationship Id="rId38" Type="http://schemas.openxmlformats.org/officeDocument/2006/relationships/slideLayout" Target="../slideLayouts/slideLayout103.xml"/><Relationship Id="rId46" Type="http://schemas.openxmlformats.org/officeDocument/2006/relationships/slideLayout" Target="../slideLayouts/slideLayout111.xml"/><Relationship Id="rId20" Type="http://schemas.openxmlformats.org/officeDocument/2006/relationships/slideLayout" Target="../slideLayouts/slideLayout85.xml"/><Relationship Id="rId41" Type="http://schemas.openxmlformats.org/officeDocument/2006/relationships/slideLayout" Target="../slideLayouts/slideLayout106.xml"/><Relationship Id="rId54" Type="http://schemas.openxmlformats.org/officeDocument/2006/relationships/oleObject" Target="../embeddings/oleObject12.bin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36" Type="http://schemas.openxmlformats.org/officeDocument/2006/relationships/slideLayout" Target="../slideLayouts/slideLayout101.xml"/><Relationship Id="rId49" Type="http://schemas.openxmlformats.org/officeDocument/2006/relationships/slideLayout" Target="../slideLayouts/slideLayout1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26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29" Type="http://schemas.openxmlformats.org/officeDocument/2006/relationships/oleObject" Target="../embeddings/oleObject18.bin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32" Type="http://schemas.openxmlformats.org/officeDocument/2006/relationships/image" Target="../media/image3.svg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tags" Target="../tags/tag18.xml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theme" Target="../theme/theme4.xml"/><Relationship Id="rId30" Type="http://schemas.openxmlformats.org/officeDocument/2006/relationships/image" Target="../media/image1.emf"/></Relationships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3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5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5.bin"/><Relationship Id="rId9" Type="http://schemas.openxmlformats.org/officeDocument/2006/relationships/image" Target="../media/image2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tatista.com/global-consumer-survey/tool/10/gcs_deu_202402?index=0&amp;absolute=0&amp;missing=0&amp;rows%5B0%5D=v0013g_demo_generation&amp;rows%5B1%5D=v0150_etra_attitudestravel&amp;rows%5B2%5D=v8883_demo_interests&amp;rows%5B3%5D=v0152b_etra_frequencytravel2&amp;rows%5B4%5D=v0151d_etra_frequencytravel&amp;rows%5B5%5D=v0151c_etra_frequencytravel&amp;rows%5B6%5D=v0014_demo_gender&amp;rows%5B7%5D=v9913e_demo_maritalstatus&amp;rows%5B8%5D=v9990d_demo_income_6&amp;rows%5B9%5D=v8884_demo_hobbies&amp;rows%5B10%5D=v9996b_demo_politiccountry&amp;rows%5B11%5D=v9996_demo_politiccountry&amp;rows%5B12%5D=v9919_demo_communitytype&amp;rows%5B13%5D=v9911_demo_educationinternational&amp;rows%5B14%5D=v9930c_life_values&amp;columns%5B0%5D=lvwrO2&amp;tgeditor=0" TargetMode="External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hyperlink" Target="https://www.statista.com/site/sustainability-2024" TargetMode="External"/><Relationship Id="rId1" Type="http://schemas.openxmlformats.org/officeDocument/2006/relationships/slideLayout" Target="../slideLayouts/slideLayout123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420_9844E7AE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2.xml"/><Relationship Id="rId4" Type="http://schemas.openxmlformats.org/officeDocument/2006/relationships/image" Target="../media/image46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35.xml"/><Relationship Id="rId4" Type="http://schemas.openxmlformats.org/officeDocument/2006/relationships/image" Target="../media/image4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2.xml"/><Relationship Id="rId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3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9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10" Type="http://schemas.openxmlformats.org/officeDocument/2006/relationships/image" Target="../media/image54.png"/><Relationship Id="rId4" Type="http://schemas.openxmlformats.org/officeDocument/2006/relationships/oleObject" Target="../embeddings/oleObject49.bin"/><Relationship Id="rId9" Type="http://schemas.openxmlformats.org/officeDocument/2006/relationships/image" Target="../media/image5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9.xml"/><Relationship Id="rId4" Type="http://schemas.openxmlformats.org/officeDocument/2006/relationships/image" Target="../media/image2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8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24.xml"/><Relationship Id="rId1" Type="http://schemas.openxmlformats.org/officeDocument/2006/relationships/tags" Target="../tags/tag50.xml"/><Relationship Id="rId6" Type="http://schemas.openxmlformats.org/officeDocument/2006/relationships/image" Target="../media/image67.jf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6.xml"/><Relationship Id="rId6" Type="http://schemas.openxmlformats.org/officeDocument/2006/relationships/image" Target="../media/image29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4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7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47.bin"/><Relationship Id="rId4" Type="http://schemas.openxmlformats.org/officeDocument/2006/relationships/image" Target="../media/image3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2.xml"/><Relationship Id="rId5" Type="http://schemas.openxmlformats.org/officeDocument/2006/relationships/image" Target="../media/image25.png"/><Relationship Id="rId4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5.sv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8.xml"/><Relationship Id="rId6" Type="http://schemas.openxmlformats.org/officeDocument/2006/relationships/image" Target="../media/image34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4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3.xml"/><Relationship Id="rId4" Type="http://schemas.openxmlformats.org/officeDocument/2006/relationships/image" Target="../media/image41.png"/></Relationships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docProps/app.xml><?xml version="1.0" encoding="utf-8"?>
<Properties xmlns="http://schemas.openxmlformats.org/officeDocument/2006/extended-properties" xmlns:vt="http://schemas.openxmlformats.org/officeDocument/2006/docPropsVTypes">
  <TotalTime>145</TotalTime>
  <Words>1478</Words>
  <Application>Microsoft Office PowerPoint</Application>
  <PresentationFormat>Widescreen</PresentationFormat>
  <Paragraphs>229</Paragraphs>
  <Slides>23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40" baseType="lpstr">
      <vt:lpstr>Aptos</vt:lpstr>
      <vt:lpstr>Arial</vt:lpstr>
      <vt:lpstr>Arial Black</vt:lpstr>
      <vt:lpstr>Calibri</vt:lpstr>
      <vt:lpstr>Calibri Light</vt:lpstr>
      <vt:lpstr>Open Sans</vt:lpstr>
      <vt:lpstr>Open Sans Extrabold</vt:lpstr>
      <vt:lpstr>Open Sans Light</vt:lpstr>
      <vt:lpstr>Open Sans Semibold</vt:lpstr>
      <vt:lpstr>Symbol</vt:lpstr>
      <vt:lpstr>Wingdings</vt:lpstr>
      <vt:lpstr>1_Office Theme</vt:lpstr>
      <vt:lpstr>Statista Master</vt:lpstr>
      <vt:lpstr>1_Statista Master</vt:lpstr>
      <vt:lpstr>Statista  |  Master 2022 </vt:lpstr>
      <vt:lpstr>think-cell Slide</vt:lpstr>
      <vt:lpstr>think-cell Folie</vt:lpstr>
      <vt:lpstr>Boosting good with data</vt:lpstr>
      <vt:lpstr>ABOUT ME</vt:lpstr>
      <vt:lpstr>PowerPoint Presentation</vt:lpstr>
      <vt:lpstr>PowerPoint Presentation</vt:lpstr>
      <vt:lpstr>1. About Statista </vt:lpstr>
      <vt:lpstr>1. About Statista : Origin of our data</vt:lpstr>
      <vt:lpstr>PowerPoint Presentation</vt:lpstr>
      <vt:lpstr>2. The boosting part: 3x  better usage so far, but only less than 3% users have tried it</vt:lpstr>
      <vt:lpstr>PowerPoint Presentation</vt:lpstr>
      <vt:lpstr>What’s included in Research AI?</vt:lpstr>
      <vt:lpstr>Open Science &amp; Scholarly Communication  </vt:lpstr>
      <vt:lpstr>3.The good part</vt:lpstr>
      <vt:lpstr>3.Boosting good with data</vt:lpstr>
      <vt:lpstr>PowerPoint Presentation</vt:lpstr>
      <vt:lpstr>351 bn USD</vt:lpstr>
      <vt:lpstr>Solid first shot!</vt:lpstr>
      <vt:lpstr> Student opinion  86% Say workshop was useful </vt:lpstr>
      <vt:lpstr>PowerPoint Presentation</vt:lpstr>
      <vt:lpstr>HVALA!</vt:lpstr>
      <vt:lpstr>PowerPoint Presentation</vt:lpstr>
      <vt:lpstr>Need for Consultants | Largest industry clusters in CE</vt:lpstr>
      <vt:lpstr>Like in every crisis, there lies opportunity | Starting with our top clusters </vt:lpstr>
      <vt:lpstr>Where are we now? Statista’s Sustainability Journey–  Outstanding Trac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uan Mariscal</dc:creator>
  <cp:lastModifiedBy>Juan Mariscal</cp:lastModifiedBy>
  <cp:revision>1</cp:revision>
  <dcterms:created xsi:type="dcterms:W3CDTF">2024-09-13T06:53:43Z</dcterms:created>
  <dcterms:modified xsi:type="dcterms:W3CDTF">2024-09-13T09:19:42Z</dcterms:modified>
</cp:coreProperties>
</file>